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55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95.xml" ContentType="application/vnd.openxmlformats-officedocument.presentationml.slide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73.xml" ContentType="application/vnd.openxmlformats-officedocument.presentationml.slideLayout+xml"/>
  <Override PartName="/ppt/diagrams/colors4.xml" ContentType="application/vnd.openxmlformats-officedocument.drawingml.diagramColors+xml"/>
  <Override PartName="/ppt/slides/slide19.xml" ContentType="application/vnd.openxmlformats-officedocument.presentationml.slide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74.xml" ContentType="application/vnd.openxmlformats-officedocument.presentationml.slideLayout+xml"/>
  <Default Extension="emf" ContentType="image/x-emf"/>
  <Override PartName="/ppt/slides/slide22.xml" ContentType="application/vnd.openxmlformats-officedocument.presentationml.slide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5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244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92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37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diagrams/colors1.xml" ContentType="application/vnd.openxmlformats-officedocument.drawingml.diagramColors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23.xml" ContentType="application/vnd.openxmlformats-officedocument.theme+xml"/>
  <Override PartName="/ppt/diagrams/layout3.xml" ContentType="application/vnd.openxmlformats-officedocument.drawingml.diagramLayout+xml"/>
  <Override PartName="/ppt/slideLayouts/slideLayout241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86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503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12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7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Masters/slideMaster21.xml" ContentType="application/vnd.openxmlformats-officedocument.presentationml.slideMaster+xml"/>
  <Override PartName="/ppt/slideLayouts/slideLayout282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2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31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ags/tag9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ags/tag1.xml" ContentType="application/vnd.openxmlformats-officedocument.presentationml.tags+xml"/>
  <Override PartName="/ppt/slideLayouts/slideLayout295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19.xml" ContentType="application/vnd.openxmlformats-officedocument.theme+xml"/>
  <Override PartName="/ppt/slideLayouts/slideLayout48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215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heme/theme22.xml" ContentType="application/vnd.openxmlformats-officedocument.theme+xml"/>
  <Override PartName="/ppt/diagrams/data3.xml" ContentType="application/vnd.openxmlformats-officedocument.drawingml.diagramData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1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74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502.xml" ContentType="application/vnd.openxmlformats-officedocument.presentationml.slideLayout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75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6.xml" ContentType="application/vnd.openxmlformats-officedocument.theme+xml"/>
  <Override PartName="/ppt/slideLayouts/slideLayout442.xml" ContentType="application/vnd.openxmlformats-officedocument.presentationml.slideLayou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93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469.xml" ContentType="application/vnd.openxmlformats-officedocument.presentationml.slideLayout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510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ags/tag3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diagrams/quickStyle1.xml" ContentType="application/vnd.openxmlformats-officedocument.drawingml.diagramStyl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61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50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13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4.xml" ContentType="application/vnd.openxmlformats-officedocument.presentationml.slideLayout+xml"/>
  <Override PartName="/ppt/tags/tag11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48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slideLayouts/slideLayout444.xml" ContentType="application/vnd.openxmlformats-officedocument.presentationml.slideLayout+xml"/>
  <Override PartName="/ppt/slideLayouts/slideLayout491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400.xml" ContentType="application/vnd.openxmlformats-officedocument.presentationml.slideLayout+xml"/>
  <Override PartName="/ppt/theme/theme21.xml" ContentType="application/vnd.openxmlformats-officedocument.theme+xml"/>
  <Override PartName="/ppt/diagrams/layout1.xml" ContentType="application/vnd.openxmlformats-officedocument.drawingml.diagramLayout+xml"/>
  <Override PartName="/ppt/slideLayouts/slideLayout98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34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6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slideLayouts/slideLayout378.xml" ContentType="application/vnd.openxmlformats-officedocument.presentationml.slideLayout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397.xml" ContentType="application/vnd.openxmlformats-officedocument.presentationml.slideLayout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54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Layouts/slideLayout347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139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388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319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158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489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46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13" r:id="rId1"/>
    <p:sldMasterId id="2147484312" r:id="rId2"/>
    <p:sldMasterId id="2147484346" r:id="rId3"/>
    <p:sldMasterId id="2147484367" r:id="rId4"/>
    <p:sldMasterId id="2147484390" r:id="rId5"/>
    <p:sldMasterId id="2147484404" r:id="rId6"/>
    <p:sldMasterId id="2147484405" r:id="rId7"/>
    <p:sldMasterId id="2147484411" r:id="rId8"/>
    <p:sldMasterId id="2147484446" r:id="rId9"/>
    <p:sldMasterId id="2147484481" r:id="rId10"/>
    <p:sldMasterId id="2147484516" r:id="rId11"/>
    <p:sldMasterId id="2147484551" r:id="rId12"/>
    <p:sldMasterId id="2147484586" r:id="rId13"/>
    <p:sldMasterId id="2147484621" r:id="rId14"/>
    <p:sldMasterId id="2147484656" r:id="rId15"/>
    <p:sldMasterId id="2147484691" r:id="rId16"/>
    <p:sldMasterId id="2147484726" r:id="rId17"/>
    <p:sldMasterId id="2147484762" r:id="rId18"/>
    <p:sldMasterId id="2147484799" r:id="rId19"/>
    <p:sldMasterId id="2147484836" r:id="rId20"/>
    <p:sldMasterId id="2147484873" r:id="rId21"/>
  </p:sldMasterIdLst>
  <p:notesMasterIdLst>
    <p:notesMasterId r:id="rId45"/>
  </p:notesMasterIdLst>
  <p:handoutMasterIdLst>
    <p:handoutMasterId r:id="rId46"/>
  </p:handoutMasterIdLst>
  <p:sldIdLst>
    <p:sldId id="637" r:id="rId22"/>
    <p:sldId id="638" r:id="rId23"/>
    <p:sldId id="639" r:id="rId24"/>
    <p:sldId id="672" r:id="rId25"/>
    <p:sldId id="641" r:id="rId26"/>
    <p:sldId id="644" r:id="rId27"/>
    <p:sldId id="645" r:id="rId28"/>
    <p:sldId id="646" r:id="rId29"/>
    <p:sldId id="647" r:id="rId30"/>
    <p:sldId id="648" r:id="rId31"/>
    <p:sldId id="655" r:id="rId32"/>
    <p:sldId id="653" r:id="rId33"/>
    <p:sldId id="654" r:id="rId34"/>
    <p:sldId id="674" r:id="rId35"/>
    <p:sldId id="669" r:id="rId36"/>
    <p:sldId id="665" r:id="rId37"/>
    <p:sldId id="666" r:id="rId38"/>
    <p:sldId id="667" r:id="rId39"/>
    <p:sldId id="668" r:id="rId40"/>
    <p:sldId id="650" r:id="rId41"/>
    <p:sldId id="656" r:id="rId42"/>
    <p:sldId id="651" r:id="rId43"/>
    <p:sldId id="635" r:id="rId44"/>
  </p:sldIdLst>
  <p:sldSz cx="9144000" cy="6858000" type="screen4x3"/>
  <p:notesSz cx="7188200" cy="94488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in 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80808"/>
    <a:srgbClr val="B4DF85"/>
    <a:srgbClr val="FF3300"/>
    <a:srgbClr val="FF0000"/>
    <a:srgbClr val="01658D"/>
    <a:srgbClr val="CCFF33"/>
    <a:srgbClr val="A8DA70"/>
    <a:srgbClr val="8BCE42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79" autoAdjust="0"/>
    <p:restoredTop sz="81545" autoAdjust="0"/>
  </p:normalViewPr>
  <p:slideViewPr>
    <p:cSldViewPr snapToGrid="0">
      <p:cViewPr>
        <p:scale>
          <a:sx n="70" d="100"/>
          <a:sy n="70" d="100"/>
        </p:scale>
        <p:origin x="-1830" y="-120"/>
      </p:cViewPr>
      <p:guideLst>
        <p:guide orient="horz" pos="2468"/>
        <p:guide pos="31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156"/>
    </p:cViewPr>
  </p:sorterViewPr>
  <p:notesViewPr>
    <p:cSldViewPr snapToGrid="0">
      <p:cViewPr>
        <p:scale>
          <a:sx n="75" d="100"/>
          <a:sy n="75" d="100"/>
        </p:scale>
        <p:origin x="-2058" y="354"/>
      </p:cViewPr>
      <p:guideLst>
        <p:guide orient="horz" pos="2976"/>
        <p:guide pos="758"/>
        <p:guide pos="3776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8.xml"/><Relationship Id="rId41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1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7E0980-6DAE-4DAA-85CF-1DDA226C5FF0}" type="doc">
      <dgm:prSet loTypeId="urn:microsoft.com/office/officeart/2005/8/layout/list1" loCatId="list" qsTypeId="urn:microsoft.com/office/officeart/2005/8/quickstyle/simple1#9" qsCatId="simple" csTypeId="urn:microsoft.com/office/officeart/2005/8/colors/accent1_2#11" csCatId="accent1" phldr="1"/>
      <dgm:spPr/>
      <dgm:t>
        <a:bodyPr/>
        <a:lstStyle/>
        <a:p>
          <a:endParaRPr lang="en-US"/>
        </a:p>
      </dgm:t>
    </dgm:pt>
    <dgm:pt modelId="{53E3DB5E-2806-4963-9F90-1D175CD33494}">
      <dgm:prSet phldrT="[Text]"/>
      <dgm:spPr>
        <a:solidFill>
          <a:schemeClr val="accent2"/>
        </a:solidFill>
      </dgm:spPr>
      <dgm:t>
        <a:bodyPr rIns="9144"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ccelerates enablement of new market adjace</a:t>
          </a:r>
          <a:r>
            <a:rPr lang="en-US" dirty="0" smtClean="0"/>
            <a:t>ncies</a:t>
          </a:r>
          <a:endParaRPr lang="en-US" dirty="0"/>
        </a:p>
      </dgm:t>
    </dgm:pt>
    <dgm:pt modelId="{B9A53A56-139D-455C-A687-438BE550D91C}" type="parTrans" cxnId="{ECC96B5C-F617-42E1-98D8-D508FAC0A16E}">
      <dgm:prSet/>
      <dgm:spPr/>
      <dgm:t>
        <a:bodyPr/>
        <a:lstStyle/>
        <a:p>
          <a:endParaRPr lang="en-US"/>
        </a:p>
      </dgm:t>
    </dgm:pt>
    <dgm:pt modelId="{CD58E554-2BC5-4073-B2CD-4AA9371DBB2A}" type="sibTrans" cxnId="{ECC96B5C-F617-42E1-98D8-D508FAC0A16E}">
      <dgm:prSet/>
      <dgm:spPr/>
      <dgm:t>
        <a:bodyPr/>
        <a:lstStyle/>
        <a:p>
          <a:endParaRPr lang="en-US"/>
        </a:p>
      </dgm:t>
    </dgm:pt>
    <dgm:pt modelId="{E85C430C-B3A8-4C9C-BE5D-8EA9D7810712}">
      <dgm:prSet phldrT="[Text]"/>
      <dgm:spPr>
        <a:solidFill>
          <a:schemeClr val="tx2"/>
        </a:solidFill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xploits the foundation of cloud-based services</a:t>
          </a:r>
        </a:p>
      </dgm:t>
    </dgm:pt>
    <dgm:pt modelId="{FC426805-BF0C-4CF1-B94F-A4C36F57F0AA}" type="parTrans" cxnId="{56760639-2979-402F-9790-1341FCA4720C}">
      <dgm:prSet/>
      <dgm:spPr/>
      <dgm:t>
        <a:bodyPr/>
        <a:lstStyle/>
        <a:p>
          <a:endParaRPr lang="en-US"/>
        </a:p>
      </dgm:t>
    </dgm:pt>
    <dgm:pt modelId="{5D6DDD82-EB0E-4DD0-90E8-E03CCD9D4272}" type="sibTrans" cxnId="{56760639-2979-402F-9790-1341FCA4720C}">
      <dgm:prSet/>
      <dgm:spPr/>
      <dgm:t>
        <a:bodyPr/>
        <a:lstStyle/>
        <a:p>
          <a:endParaRPr lang="en-US"/>
        </a:p>
      </dgm:t>
    </dgm:pt>
    <dgm:pt modelId="{EFAEEA17-CC1C-4D10-831C-8D86FAB9E5B6}">
      <dgm:prSet phldrT="[Text]"/>
      <dgm:spPr>
        <a:solidFill>
          <a:schemeClr val="tx2"/>
        </a:solidFill>
      </dgm:spPr>
      <dgm:t>
        <a:bodyPr/>
        <a:lstStyle/>
        <a:p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mplifies improvement in Total Cost of Ownership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01B5A7A-EF66-4456-95ED-1A1E515C5072}" type="parTrans" cxnId="{05E7AF6D-51FA-4CDB-A407-38ADD23552E3}">
      <dgm:prSet/>
      <dgm:spPr/>
      <dgm:t>
        <a:bodyPr/>
        <a:lstStyle/>
        <a:p>
          <a:endParaRPr lang="en-US"/>
        </a:p>
      </dgm:t>
    </dgm:pt>
    <dgm:pt modelId="{3D3D3C43-65D9-4A65-B1BC-CC1893BE5674}" type="sibTrans" cxnId="{05E7AF6D-51FA-4CDB-A407-38ADD23552E3}">
      <dgm:prSet/>
      <dgm:spPr/>
      <dgm:t>
        <a:bodyPr/>
        <a:lstStyle/>
        <a:p>
          <a:endParaRPr lang="en-US"/>
        </a:p>
      </dgm:t>
    </dgm:pt>
    <dgm:pt modelId="{99EED939-ED34-4987-A82F-9385D5473DDE}">
      <dgm:prSet/>
      <dgm:spPr>
        <a:solidFill>
          <a:schemeClr val="accent4">
            <a:alpha val="9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rvice Total Cost of Ownership is more effectively distribut</a:t>
          </a:r>
          <a:r>
            <a:rPr lang="en-US" dirty="0" smtClean="0">
              <a:solidFill>
                <a:schemeClr val="bg1"/>
              </a:solidFill>
            </a:rPr>
            <a:t>ed</a:t>
          </a:r>
          <a:endParaRPr lang="en-US" dirty="0">
            <a:solidFill>
              <a:schemeClr val="bg1"/>
            </a:solidFill>
          </a:endParaRPr>
        </a:p>
      </dgm:t>
    </dgm:pt>
    <dgm:pt modelId="{4E7BF34A-A095-4122-A71D-E082CB35AD2F}" type="parTrans" cxnId="{2FA09D17-DE2F-4E0A-B3F7-B1A5FA36EF44}">
      <dgm:prSet/>
      <dgm:spPr/>
      <dgm:t>
        <a:bodyPr/>
        <a:lstStyle/>
        <a:p>
          <a:endParaRPr lang="en-US"/>
        </a:p>
      </dgm:t>
    </dgm:pt>
    <dgm:pt modelId="{5AFAA9FE-F022-4263-9023-F17B49EC77FF}" type="sibTrans" cxnId="{2FA09D17-DE2F-4E0A-B3F7-B1A5FA36EF44}">
      <dgm:prSet/>
      <dgm:spPr/>
      <dgm:t>
        <a:bodyPr/>
        <a:lstStyle/>
        <a:p>
          <a:endParaRPr lang="en-US"/>
        </a:p>
      </dgm:t>
    </dgm:pt>
    <dgm:pt modelId="{F76166B3-8DF8-45AD-81C1-137A4C501C53}">
      <dgm:prSet/>
      <dgm:spPr>
        <a:solidFill>
          <a:schemeClr val="accent4">
            <a:alpha val="90000"/>
          </a:schemeClr>
        </a:solidFill>
      </dgm:spPr>
      <dgm:t>
        <a:bodyPr rIns="365760"/>
        <a:lstStyle/>
        <a:p>
          <a:r>
            <a: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rvices are configured instead of new services being developed</a:t>
          </a:r>
          <a:endParaRPr lang="en-US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7669514-D347-4735-A1F8-3A199E07E6DD}" type="parTrans" cxnId="{4DA366A6-B2DC-4A10-A8F5-13E69FECA327}">
      <dgm:prSet/>
      <dgm:spPr/>
      <dgm:t>
        <a:bodyPr/>
        <a:lstStyle/>
        <a:p>
          <a:endParaRPr lang="en-US"/>
        </a:p>
      </dgm:t>
    </dgm:pt>
    <dgm:pt modelId="{884D22F5-1181-41E4-BAD1-EACDBB8C7AA5}" type="sibTrans" cxnId="{4DA366A6-B2DC-4A10-A8F5-13E69FECA327}">
      <dgm:prSet/>
      <dgm:spPr/>
      <dgm:t>
        <a:bodyPr/>
        <a:lstStyle/>
        <a:p>
          <a:endParaRPr lang="en-US"/>
        </a:p>
      </dgm:t>
    </dgm:pt>
    <dgm:pt modelId="{3DC07E2E-AAE5-4BE2-B790-67EACE73EFCE}">
      <dgm:prSet/>
      <dgm:spPr>
        <a:solidFill>
          <a:schemeClr val="accent4">
            <a:alpha val="90000"/>
          </a:schemeClr>
        </a:solidFill>
      </dgm:spPr>
      <dgm:t>
        <a:bodyPr/>
        <a:lstStyle/>
        <a:p>
          <a:r>
            <a: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ngle tenant services can</a:t>
          </a:r>
          <a:r>
            <a:rPr lang="en-US" i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ot</a:t>
          </a:r>
          <a:r>
            <a:rPr lang="en-US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provide the full benefit of cloud </a:t>
          </a:r>
          <a:endParaRPr lang="en-US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8475305-A1C0-4681-AA11-08A3DDEE4F16}" type="parTrans" cxnId="{608D0A90-ECC2-48E5-AB14-697C13BF9EAB}">
      <dgm:prSet/>
      <dgm:spPr/>
      <dgm:t>
        <a:bodyPr/>
        <a:lstStyle/>
        <a:p>
          <a:endParaRPr lang="en-US"/>
        </a:p>
      </dgm:t>
    </dgm:pt>
    <dgm:pt modelId="{2399CE86-AEFE-414A-879F-59AE8081F69A}" type="sibTrans" cxnId="{608D0A90-ECC2-48E5-AB14-697C13BF9EAB}">
      <dgm:prSet/>
      <dgm:spPr/>
      <dgm:t>
        <a:bodyPr/>
        <a:lstStyle/>
        <a:p>
          <a:endParaRPr lang="en-US"/>
        </a:p>
      </dgm:t>
    </dgm:pt>
    <dgm:pt modelId="{10413F15-E672-4906-A962-E521410E94ED}" type="pres">
      <dgm:prSet presAssocID="{027E0980-6DAE-4DAA-85CF-1DDA226C5FF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F66FA97-6951-4974-B845-DC0457BB5304}" type="pres">
      <dgm:prSet presAssocID="{53E3DB5E-2806-4963-9F90-1D175CD33494}" presName="parentLin" presStyleCnt="0"/>
      <dgm:spPr/>
    </dgm:pt>
    <dgm:pt modelId="{566E5A29-CB69-4EC5-8CF9-9A24D94736B4}" type="pres">
      <dgm:prSet presAssocID="{53E3DB5E-2806-4963-9F90-1D175CD3349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35DECDDC-1F9E-4388-A4F1-60FC1A256C7A}" type="pres">
      <dgm:prSet presAssocID="{53E3DB5E-2806-4963-9F90-1D175CD33494}" presName="parentText" presStyleLbl="node1" presStyleIdx="0" presStyleCnt="3" custScaleX="10673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93AA4E-7E3A-42F4-A981-9B4405A8836D}" type="pres">
      <dgm:prSet presAssocID="{53E3DB5E-2806-4963-9F90-1D175CD33494}" presName="negativeSpace" presStyleCnt="0"/>
      <dgm:spPr/>
    </dgm:pt>
    <dgm:pt modelId="{88D5CF15-1E24-43E5-9D8B-E55CFDF5D65F}" type="pres">
      <dgm:prSet presAssocID="{53E3DB5E-2806-4963-9F90-1D175CD33494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E1ED57-BEA8-4ECE-9B3B-AA3165F6D2C7}" type="pres">
      <dgm:prSet presAssocID="{CD58E554-2BC5-4073-B2CD-4AA9371DBB2A}" presName="spaceBetweenRectangles" presStyleCnt="0"/>
      <dgm:spPr/>
    </dgm:pt>
    <dgm:pt modelId="{F9B0C3B5-9F39-4265-9AB1-132BC45146BF}" type="pres">
      <dgm:prSet presAssocID="{E85C430C-B3A8-4C9C-BE5D-8EA9D7810712}" presName="parentLin" presStyleCnt="0"/>
      <dgm:spPr/>
    </dgm:pt>
    <dgm:pt modelId="{C368EB13-C9B5-4A7C-BFB7-471D330C57FF}" type="pres">
      <dgm:prSet presAssocID="{E85C430C-B3A8-4C9C-BE5D-8EA9D7810712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73E7F9DC-861C-4707-A427-538AE514C19E}" type="pres">
      <dgm:prSet presAssocID="{E85C430C-B3A8-4C9C-BE5D-8EA9D7810712}" presName="parentText" presStyleLbl="node1" presStyleIdx="1" presStyleCnt="3" custScaleX="10673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535A82-E07E-4E5B-B3D6-02AC83248C39}" type="pres">
      <dgm:prSet presAssocID="{E85C430C-B3A8-4C9C-BE5D-8EA9D7810712}" presName="negativeSpace" presStyleCnt="0"/>
      <dgm:spPr/>
    </dgm:pt>
    <dgm:pt modelId="{F490C7A2-9118-4F65-97F2-A47A26BA372D}" type="pres">
      <dgm:prSet presAssocID="{E85C430C-B3A8-4C9C-BE5D-8EA9D7810712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824528-F84D-4219-B38C-F1EEEDECC42C}" type="pres">
      <dgm:prSet presAssocID="{5D6DDD82-EB0E-4DD0-90E8-E03CCD9D4272}" presName="spaceBetweenRectangles" presStyleCnt="0"/>
      <dgm:spPr/>
    </dgm:pt>
    <dgm:pt modelId="{CE1A297D-3797-455D-844A-5D4357625C2A}" type="pres">
      <dgm:prSet presAssocID="{EFAEEA17-CC1C-4D10-831C-8D86FAB9E5B6}" presName="parentLin" presStyleCnt="0"/>
      <dgm:spPr/>
    </dgm:pt>
    <dgm:pt modelId="{308A34E4-0BF7-4035-9ECA-2083E9AE07E1}" type="pres">
      <dgm:prSet presAssocID="{EFAEEA17-CC1C-4D10-831C-8D86FAB9E5B6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3D5769C3-6C39-4116-9351-D10DAE048389}" type="pres">
      <dgm:prSet presAssocID="{EFAEEA17-CC1C-4D10-831C-8D86FAB9E5B6}" presName="parentText" presStyleLbl="node1" presStyleIdx="2" presStyleCnt="3" custScaleX="10673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F8884B-2BBD-42D8-8286-66977326FBD8}" type="pres">
      <dgm:prSet presAssocID="{EFAEEA17-CC1C-4D10-831C-8D86FAB9E5B6}" presName="negativeSpace" presStyleCnt="0"/>
      <dgm:spPr/>
    </dgm:pt>
    <dgm:pt modelId="{89BFFF16-AE5F-469E-9D6A-11D97677CB40}" type="pres">
      <dgm:prSet presAssocID="{EFAEEA17-CC1C-4D10-831C-8D86FAB9E5B6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ECA05A6-446F-46E8-A589-15E892E52884}" type="presOf" srcId="{EFAEEA17-CC1C-4D10-831C-8D86FAB9E5B6}" destId="{308A34E4-0BF7-4035-9ECA-2083E9AE07E1}" srcOrd="0" destOrd="0" presId="urn:microsoft.com/office/officeart/2005/8/layout/list1"/>
    <dgm:cxn modelId="{FF2E2E2F-C34B-4264-8649-18C9ABDEE9D5}" type="presOf" srcId="{53E3DB5E-2806-4963-9F90-1D175CD33494}" destId="{566E5A29-CB69-4EC5-8CF9-9A24D94736B4}" srcOrd="0" destOrd="0" presId="urn:microsoft.com/office/officeart/2005/8/layout/list1"/>
    <dgm:cxn modelId="{D57CA777-A722-4C4D-9F13-FC6DCAFA6FEB}" type="presOf" srcId="{53E3DB5E-2806-4963-9F90-1D175CD33494}" destId="{35DECDDC-1F9E-4388-A4F1-60FC1A256C7A}" srcOrd="1" destOrd="0" presId="urn:microsoft.com/office/officeart/2005/8/layout/list1"/>
    <dgm:cxn modelId="{56760639-2979-402F-9790-1341FCA4720C}" srcId="{027E0980-6DAE-4DAA-85CF-1DDA226C5FF0}" destId="{E85C430C-B3A8-4C9C-BE5D-8EA9D7810712}" srcOrd="1" destOrd="0" parTransId="{FC426805-BF0C-4CF1-B94F-A4C36F57F0AA}" sibTransId="{5D6DDD82-EB0E-4DD0-90E8-E03CCD9D4272}"/>
    <dgm:cxn modelId="{2A4BD151-22B7-4353-AE95-0593C27E026B}" type="presOf" srcId="{E85C430C-B3A8-4C9C-BE5D-8EA9D7810712}" destId="{73E7F9DC-861C-4707-A427-538AE514C19E}" srcOrd="1" destOrd="0" presId="urn:microsoft.com/office/officeart/2005/8/layout/list1"/>
    <dgm:cxn modelId="{608D0A90-ECC2-48E5-AB14-697C13BF9EAB}" srcId="{E85C430C-B3A8-4C9C-BE5D-8EA9D7810712}" destId="{3DC07E2E-AAE5-4BE2-B790-67EACE73EFCE}" srcOrd="0" destOrd="0" parTransId="{58475305-A1C0-4681-AA11-08A3DDEE4F16}" sibTransId="{2399CE86-AEFE-414A-879F-59AE8081F69A}"/>
    <dgm:cxn modelId="{B5D4196A-1887-49E5-AF19-BD0A36A0A296}" type="presOf" srcId="{99EED939-ED34-4987-A82F-9385D5473DDE}" destId="{89BFFF16-AE5F-469E-9D6A-11D97677CB40}" srcOrd="0" destOrd="0" presId="urn:microsoft.com/office/officeart/2005/8/layout/list1"/>
    <dgm:cxn modelId="{2FA09D17-DE2F-4E0A-B3F7-B1A5FA36EF44}" srcId="{EFAEEA17-CC1C-4D10-831C-8D86FAB9E5B6}" destId="{99EED939-ED34-4987-A82F-9385D5473DDE}" srcOrd="0" destOrd="0" parTransId="{4E7BF34A-A095-4122-A71D-E082CB35AD2F}" sibTransId="{5AFAA9FE-F022-4263-9023-F17B49EC77FF}"/>
    <dgm:cxn modelId="{4DA366A6-B2DC-4A10-A8F5-13E69FECA327}" srcId="{53E3DB5E-2806-4963-9F90-1D175CD33494}" destId="{F76166B3-8DF8-45AD-81C1-137A4C501C53}" srcOrd="0" destOrd="0" parTransId="{87669514-D347-4735-A1F8-3A199E07E6DD}" sibTransId="{884D22F5-1181-41E4-BAD1-EACDBB8C7AA5}"/>
    <dgm:cxn modelId="{FAD96AC8-97DE-465D-BF99-F7013DFC2760}" type="presOf" srcId="{F76166B3-8DF8-45AD-81C1-137A4C501C53}" destId="{88D5CF15-1E24-43E5-9D8B-E55CFDF5D65F}" srcOrd="0" destOrd="0" presId="urn:microsoft.com/office/officeart/2005/8/layout/list1"/>
    <dgm:cxn modelId="{20D5FF0F-4145-4532-AD56-AAB0E20A1B98}" type="presOf" srcId="{E85C430C-B3A8-4C9C-BE5D-8EA9D7810712}" destId="{C368EB13-C9B5-4A7C-BFB7-471D330C57FF}" srcOrd="0" destOrd="0" presId="urn:microsoft.com/office/officeart/2005/8/layout/list1"/>
    <dgm:cxn modelId="{ECC96B5C-F617-42E1-98D8-D508FAC0A16E}" srcId="{027E0980-6DAE-4DAA-85CF-1DDA226C5FF0}" destId="{53E3DB5E-2806-4963-9F90-1D175CD33494}" srcOrd="0" destOrd="0" parTransId="{B9A53A56-139D-455C-A687-438BE550D91C}" sibTransId="{CD58E554-2BC5-4073-B2CD-4AA9371DBB2A}"/>
    <dgm:cxn modelId="{05E7AF6D-51FA-4CDB-A407-38ADD23552E3}" srcId="{027E0980-6DAE-4DAA-85CF-1DDA226C5FF0}" destId="{EFAEEA17-CC1C-4D10-831C-8D86FAB9E5B6}" srcOrd="2" destOrd="0" parTransId="{E01B5A7A-EF66-4456-95ED-1A1E515C5072}" sibTransId="{3D3D3C43-65D9-4A65-B1BC-CC1893BE5674}"/>
    <dgm:cxn modelId="{F1D8FF70-D08E-46E1-A96F-5C810AF325F8}" type="presOf" srcId="{027E0980-6DAE-4DAA-85CF-1DDA226C5FF0}" destId="{10413F15-E672-4906-A962-E521410E94ED}" srcOrd="0" destOrd="0" presId="urn:microsoft.com/office/officeart/2005/8/layout/list1"/>
    <dgm:cxn modelId="{E0DB58C7-4065-442A-95E1-92E548261DF3}" type="presOf" srcId="{3DC07E2E-AAE5-4BE2-B790-67EACE73EFCE}" destId="{F490C7A2-9118-4F65-97F2-A47A26BA372D}" srcOrd="0" destOrd="0" presId="urn:microsoft.com/office/officeart/2005/8/layout/list1"/>
    <dgm:cxn modelId="{4311C1FF-D4AE-46DD-B1A2-55347B17B99E}" type="presOf" srcId="{EFAEEA17-CC1C-4D10-831C-8D86FAB9E5B6}" destId="{3D5769C3-6C39-4116-9351-D10DAE048389}" srcOrd="1" destOrd="0" presId="urn:microsoft.com/office/officeart/2005/8/layout/list1"/>
    <dgm:cxn modelId="{F2D1F26B-7FB8-4F2D-9FC0-806AA85DC22B}" type="presParOf" srcId="{10413F15-E672-4906-A962-E521410E94ED}" destId="{AF66FA97-6951-4974-B845-DC0457BB5304}" srcOrd="0" destOrd="0" presId="urn:microsoft.com/office/officeart/2005/8/layout/list1"/>
    <dgm:cxn modelId="{D2E6F348-F1FA-49F6-937C-5A2A4F2F3656}" type="presParOf" srcId="{AF66FA97-6951-4974-B845-DC0457BB5304}" destId="{566E5A29-CB69-4EC5-8CF9-9A24D94736B4}" srcOrd="0" destOrd="0" presId="urn:microsoft.com/office/officeart/2005/8/layout/list1"/>
    <dgm:cxn modelId="{728FE4BB-F07F-493C-AD37-4FB95B5D5F50}" type="presParOf" srcId="{AF66FA97-6951-4974-B845-DC0457BB5304}" destId="{35DECDDC-1F9E-4388-A4F1-60FC1A256C7A}" srcOrd="1" destOrd="0" presId="urn:microsoft.com/office/officeart/2005/8/layout/list1"/>
    <dgm:cxn modelId="{5A29C9F7-908A-4641-BA95-AA9969D54652}" type="presParOf" srcId="{10413F15-E672-4906-A962-E521410E94ED}" destId="{1C93AA4E-7E3A-42F4-A981-9B4405A8836D}" srcOrd="1" destOrd="0" presId="urn:microsoft.com/office/officeart/2005/8/layout/list1"/>
    <dgm:cxn modelId="{8B8FC725-E755-4344-9080-1FFDA8BC2153}" type="presParOf" srcId="{10413F15-E672-4906-A962-E521410E94ED}" destId="{88D5CF15-1E24-43E5-9D8B-E55CFDF5D65F}" srcOrd="2" destOrd="0" presId="urn:microsoft.com/office/officeart/2005/8/layout/list1"/>
    <dgm:cxn modelId="{A0FF9CEC-B556-4568-9DF0-067CF7D8138D}" type="presParOf" srcId="{10413F15-E672-4906-A962-E521410E94ED}" destId="{55E1ED57-BEA8-4ECE-9B3B-AA3165F6D2C7}" srcOrd="3" destOrd="0" presId="urn:microsoft.com/office/officeart/2005/8/layout/list1"/>
    <dgm:cxn modelId="{9DE5822B-779E-455F-88E9-352395DB97CE}" type="presParOf" srcId="{10413F15-E672-4906-A962-E521410E94ED}" destId="{F9B0C3B5-9F39-4265-9AB1-132BC45146BF}" srcOrd="4" destOrd="0" presId="urn:microsoft.com/office/officeart/2005/8/layout/list1"/>
    <dgm:cxn modelId="{9DC115B1-A931-4E59-86D3-0AC98B8B2EE8}" type="presParOf" srcId="{F9B0C3B5-9F39-4265-9AB1-132BC45146BF}" destId="{C368EB13-C9B5-4A7C-BFB7-471D330C57FF}" srcOrd="0" destOrd="0" presId="urn:microsoft.com/office/officeart/2005/8/layout/list1"/>
    <dgm:cxn modelId="{9EBECD0E-AF48-46B8-904C-826D70870D40}" type="presParOf" srcId="{F9B0C3B5-9F39-4265-9AB1-132BC45146BF}" destId="{73E7F9DC-861C-4707-A427-538AE514C19E}" srcOrd="1" destOrd="0" presId="urn:microsoft.com/office/officeart/2005/8/layout/list1"/>
    <dgm:cxn modelId="{7A747E5C-809E-4D82-B24E-1A0FEB4156F4}" type="presParOf" srcId="{10413F15-E672-4906-A962-E521410E94ED}" destId="{40535A82-E07E-4E5B-B3D6-02AC83248C39}" srcOrd="5" destOrd="0" presId="urn:microsoft.com/office/officeart/2005/8/layout/list1"/>
    <dgm:cxn modelId="{559BED11-FF72-418D-9BAD-391AC19BEE57}" type="presParOf" srcId="{10413F15-E672-4906-A962-E521410E94ED}" destId="{F490C7A2-9118-4F65-97F2-A47A26BA372D}" srcOrd="6" destOrd="0" presId="urn:microsoft.com/office/officeart/2005/8/layout/list1"/>
    <dgm:cxn modelId="{14C36423-F9C0-439C-A599-8BA2BE259444}" type="presParOf" srcId="{10413F15-E672-4906-A962-E521410E94ED}" destId="{6D824528-F84D-4219-B38C-F1EEEDECC42C}" srcOrd="7" destOrd="0" presId="urn:microsoft.com/office/officeart/2005/8/layout/list1"/>
    <dgm:cxn modelId="{D0403312-579E-4DE8-9C9D-FC5D86BF9815}" type="presParOf" srcId="{10413F15-E672-4906-A962-E521410E94ED}" destId="{CE1A297D-3797-455D-844A-5D4357625C2A}" srcOrd="8" destOrd="0" presId="urn:microsoft.com/office/officeart/2005/8/layout/list1"/>
    <dgm:cxn modelId="{859A2B96-5B80-4932-98C3-79CDFA56A185}" type="presParOf" srcId="{CE1A297D-3797-455D-844A-5D4357625C2A}" destId="{308A34E4-0BF7-4035-9ECA-2083E9AE07E1}" srcOrd="0" destOrd="0" presId="urn:microsoft.com/office/officeart/2005/8/layout/list1"/>
    <dgm:cxn modelId="{72CBD36A-75B2-47CD-9356-2CA5ED1A1A59}" type="presParOf" srcId="{CE1A297D-3797-455D-844A-5D4357625C2A}" destId="{3D5769C3-6C39-4116-9351-D10DAE048389}" srcOrd="1" destOrd="0" presId="urn:microsoft.com/office/officeart/2005/8/layout/list1"/>
    <dgm:cxn modelId="{C84A0AB9-998A-4202-8B6B-E2034DD0BECA}" type="presParOf" srcId="{10413F15-E672-4906-A962-E521410E94ED}" destId="{58F8884B-2BBD-42D8-8286-66977326FBD8}" srcOrd="9" destOrd="0" presId="urn:microsoft.com/office/officeart/2005/8/layout/list1"/>
    <dgm:cxn modelId="{8D3E9384-5CA7-4B0E-9BC6-483ECE8F8A9B}" type="presParOf" srcId="{10413F15-E672-4906-A962-E521410E94ED}" destId="{89BFFF16-AE5F-469E-9D6A-11D97677CB40}" srcOrd="10" destOrd="0" presId="urn:microsoft.com/office/officeart/2005/8/layout/list1"/>
  </dgm:cxnLst>
  <dgm:bg/>
  <dgm:whole/>
  <dgm:extLst>
    <a:ext uri="http://schemas.microsoft.com/office/drawing/2008/diagram"/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899C72-FBC1-4027-AC4A-F1CD9CB15D89}" type="doc">
      <dgm:prSet loTypeId="urn:microsoft.com/office/officeart/2005/8/layout/hProcess9" loCatId="process" qsTypeId="urn:microsoft.com/office/officeart/2005/8/quickstyle/simple5" qsCatId="simple" csTypeId="urn:microsoft.com/office/officeart/2005/8/colors/accent1_2#12" csCatId="accent1" phldr="1"/>
      <dgm:spPr/>
    </dgm:pt>
    <dgm:pt modelId="{7E0A6667-C448-49D4-A7DB-72C9D659F951}">
      <dgm:prSet phldrT="[Text]"/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milar/ Overlap Functionality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60E4C02-8B0B-47D2-97E3-E3C898D3B288}" type="parTrans" cxnId="{F24D11D2-C728-48E9-B9D7-4752D48D7CD5}">
      <dgm:prSet/>
      <dgm:spPr/>
      <dgm:t>
        <a:bodyPr/>
        <a:lstStyle/>
        <a:p>
          <a:endParaRPr lang="en-US"/>
        </a:p>
      </dgm:t>
    </dgm:pt>
    <dgm:pt modelId="{6C8BA5D6-3775-4C19-A2DC-AC458B71760C}" type="sibTrans" cxnId="{F24D11D2-C728-48E9-B9D7-4752D48D7CD5}">
      <dgm:prSet/>
      <dgm:spPr/>
      <dgm:t>
        <a:bodyPr/>
        <a:lstStyle/>
        <a:p>
          <a:endParaRPr lang="en-US"/>
        </a:p>
      </dgm:t>
    </dgm:pt>
    <dgm:pt modelId="{50E7FC5B-0C2E-45D1-B358-9B1D214D5BFA}">
      <dgm:prSet phldrT="[Text]"/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ultiple Customers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8DFBB91-E863-4030-95E7-1A74628F45CA}" type="parTrans" cxnId="{EFD11A79-4468-444E-B1AC-DAE3B858595F}">
      <dgm:prSet/>
      <dgm:spPr/>
      <dgm:t>
        <a:bodyPr/>
        <a:lstStyle/>
        <a:p>
          <a:endParaRPr lang="en-US"/>
        </a:p>
      </dgm:t>
    </dgm:pt>
    <dgm:pt modelId="{B64756B3-0EB2-4E9C-B530-31FCB5B5EE46}" type="sibTrans" cxnId="{EFD11A79-4468-444E-B1AC-DAE3B858595F}">
      <dgm:prSet/>
      <dgm:spPr/>
      <dgm:t>
        <a:bodyPr/>
        <a:lstStyle/>
        <a:p>
          <a:endParaRPr lang="en-US"/>
        </a:p>
      </dgm:t>
    </dgm:pt>
    <dgm:pt modelId="{5C2E61EF-08CB-423A-A5D5-9887EBE8870D}">
      <dgm:prSet phldrT="[Text]"/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ustomization via Configuration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E749F89-30B1-45B3-85C5-2D9AB5EF68B2}" type="parTrans" cxnId="{45FEF3FF-CCC7-4D78-BCB4-7DA152152635}">
      <dgm:prSet/>
      <dgm:spPr/>
      <dgm:t>
        <a:bodyPr/>
        <a:lstStyle/>
        <a:p>
          <a:endParaRPr lang="en-US"/>
        </a:p>
      </dgm:t>
    </dgm:pt>
    <dgm:pt modelId="{8F32CADC-34F7-48F9-B35B-AEB71B2CE641}" type="sibTrans" cxnId="{45FEF3FF-CCC7-4D78-BCB4-7DA152152635}">
      <dgm:prSet/>
      <dgm:spPr/>
      <dgm:t>
        <a:bodyPr/>
        <a:lstStyle/>
        <a:p>
          <a:endParaRPr lang="en-US"/>
        </a:p>
      </dgm:t>
    </dgm:pt>
    <dgm:pt modelId="{46986999-4800-4D22-9D22-39B3A6DC9F86}">
      <dgm:prSet/>
      <dgm:spPr/>
      <dgm:t>
        <a:bodyPr/>
        <a:lstStyle/>
        <a:p>
          <a:r>
            <a: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hared Infrastructure</a:t>
          </a:r>
          <a:endParaRPr lang="en-US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CFEA7A3-9892-4D36-9355-AC2A0B0FD700}" type="parTrans" cxnId="{A0F40EBB-8EBD-4505-A09F-90DC5DF0A8C3}">
      <dgm:prSet/>
      <dgm:spPr/>
      <dgm:t>
        <a:bodyPr/>
        <a:lstStyle/>
        <a:p>
          <a:endParaRPr lang="en-US"/>
        </a:p>
      </dgm:t>
    </dgm:pt>
    <dgm:pt modelId="{21B28323-5F46-4C28-830D-6B35E91BFFDF}" type="sibTrans" cxnId="{A0F40EBB-8EBD-4505-A09F-90DC5DF0A8C3}">
      <dgm:prSet/>
      <dgm:spPr/>
      <dgm:t>
        <a:bodyPr/>
        <a:lstStyle/>
        <a:p>
          <a:endParaRPr lang="en-US"/>
        </a:p>
      </dgm:t>
    </dgm:pt>
    <dgm:pt modelId="{620A2D5E-EF7B-491D-9F0A-298CE4A4B031}" type="pres">
      <dgm:prSet presAssocID="{6B899C72-FBC1-4027-AC4A-F1CD9CB15D89}" presName="CompostProcess" presStyleCnt="0">
        <dgm:presLayoutVars>
          <dgm:dir/>
          <dgm:resizeHandles val="exact"/>
        </dgm:presLayoutVars>
      </dgm:prSet>
      <dgm:spPr/>
    </dgm:pt>
    <dgm:pt modelId="{FA66CAE9-077E-4F1A-B801-A1A434AD9F1D}" type="pres">
      <dgm:prSet presAssocID="{6B899C72-FBC1-4027-AC4A-F1CD9CB15D89}" presName="arrow" presStyleLbl="bgShp" presStyleIdx="0" presStyleCnt="1" custScaleX="117647" custLinFactNeighborX="-917"/>
      <dgm:spPr>
        <a:solidFill>
          <a:schemeClr val="accent2">
            <a:lumMod val="60000"/>
            <a:lumOff val="40000"/>
          </a:schemeClr>
        </a:solidFill>
      </dgm:spPr>
    </dgm:pt>
    <dgm:pt modelId="{1F24D193-E813-45A0-9C78-5C62F4DA34E1}" type="pres">
      <dgm:prSet presAssocID="{6B899C72-FBC1-4027-AC4A-F1CD9CB15D89}" presName="linearProcess" presStyleCnt="0"/>
      <dgm:spPr/>
    </dgm:pt>
    <dgm:pt modelId="{50930146-CB34-4AB5-B7F1-C2B303B23CFA}" type="pres">
      <dgm:prSet presAssocID="{7E0A6667-C448-49D4-A7DB-72C9D659F951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6B4B52-002E-421D-B2F4-E110DDCCEC24}" type="pres">
      <dgm:prSet presAssocID="{6C8BA5D6-3775-4C19-A2DC-AC458B71760C}" presName="sibTrans" presStyleCnt="0"/>
      <dgm:spPr/>
    </dgm:pt>
    <dgm:pt modelId="{664D76CD-8A46-4816-8E2C-A0A933FAFC06}" type="pres">
      <dgm:prSet presAssocID="{50E7FC5B-0C2E-45D1-B358-9B1D214D5BFA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616A91-97F6-4F3B-B760-0FCF4628171D}" type="pres">
      <dgm:prSet presAssocID="{B64756B3-0EB2-4E9C-B530-31FCB5B5EE46}" presName="sibTrans" presStyleCnt="0"/>
      <dgm:spPr/>
    </dgm:pt>
    <dgm:pt modelId="{AD2265B3-B389-460D-9E92-47718169885C}" type="pres">
      <dgm:prSet presAssocID="{5C2E61EF-08CB-423A-A5D5-9887EBE8870D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630957-3C61-4946-B726-1C57C7E39C43}" type="pres">
      <dgm:prSet presAssocID="{8F32CADC-34F7-48F9-B35B-AEB71B2CE641}" presName="sibTrans" presStyleCnt="0"/>
      <dgm:spPr/>
    </dgm:pt>
    <dgm:pt modelId="{DB59E289-9071-4DF9-8409-A3665E8CE97C}" type="pres">
      <dgm:prSet presAssocID="{46986999-4800-4D22-9D22-39B3A6DC9F86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FD11A79-4468-444E-B1AC-DAE3B858595F}" srcId="{6B899C72-FBC1-4027-AC4A-F1CD9CB15D89}" destId="{50E7FC5B-0C2E-45D1-B358-9B1D214D5BFA}" srcOrd="1" destOrd="0" parTransId="{38DFBB91-E863-4030-95E7-1A74628F45CA}" sibTransId="{B64756B3-0EB2-4E9C-B530-31FCB5B5EE46}"/>
    <dgm:cxn modelId="{D48F6997-24C5-4236-91F3-BE4D3B05D56B}" type="presOf" srcId="{50E7FC5B-0C2E-45D1-B358-9B1D214D5BFA}" destId="{664D76CD-8A46-4816-8E2C-A0A933FAFC06}" srcOrd="0" destOrd="0" presId="urn:microsoft.com/office/officeart/2005/8/layout/hProcess9"/>
    <dgm:cxn modelId="{45FEF3FF-CCC7-4D78-BCB4-7DA152152635}" srcId="{6B899C72-FBC1-4027-AC4A-F1CD9CB15D89}" destId="{5C2E61EF-08CB-423A-A5D5-9887EBE8870D}" srcOrd="2" destOrd="0" parTransId="{0E749F89-30B1-45B3-85C5-2D9AB5EF68B2}" sibTransId="{8F32CADC-34F7-48F9-B35B-AEB71B2CE641}"/>
    <dgm:cxn modelId="{A0F40EBB-8EBD-4505-A09F-90DC5DF0A8C3}" srcId="{6B899C72-FBC1-4027-AC4A-F1CD9CB15D89}" destId="{46986999-4800-4D22-9D22-39B3A6DC9F86}" srcOrd="3" destOrd="0" parTransId="{ACFEA7A3-9892-4D36-9355-AC2A0B0FD700}" sibTransId="{21B28323-5F46-4C28-830D-6B35E91BFFDF}"/>
    <dgm:cxn modelId="{B0829A28-B96A-48A1-AF6D-08B86B86CCF0}" type="presOf" srcId="{5C2E61EF-08CB-423A-A5D5-9887EBE8870D}" destId="{AD2265B3-B389-460D-9E92-47718169885C}" srcOrd="0" destOrd="0" presId="urn:microsoft.com/office/officeart/2005/8/layout/hProcess9"/>
    <dgm:cxn modelId="{8B086FB0-B76A-47ED-B77C-47469600BD7C}" type="presOf" srcId="{7E0A6667-C448-49D4-A7DB-72C9D659F951}" destId="{50930146-CB34-4AB5-B7F1-C2B303B23CFA}" srcOrd="0" destOrd="0" presId="urn:microsoft.com/office/officeart/2005/8/layout/hProcess9"/>
    <dgm:cxn modelId="{F24D11D2-C728-48E9-B9D7-4752D48D7CD5}" srcId="{6B899C72-FBC1-4027-AC4A-F1CD9CB15D89}" destId="{7E0A6667-C448-49D4-A7DB-72C9D659F951}" srcOrd="0" destOrd="0" parTransId="{960E4C02-8B0B-47D2-97E3-E3C898D3B288}" sibTransId="{6C8BA5D6-3775-4C19-A2DC-AC458B71760C}"/>
    <dgm:cxn modelId="{7DAD0CB2-FFC1-416D-B7BA-C54176B61E00}" type="presOf" srcId="{46986999-4800-4D22-9D22-39B3A6DC9F86}" destId="{DB59E289-9071-4DF9-8409-A3665E8CE97C}" srcOrd="0" destOrd="0" presId="urn:microsoft.com/office/officeart/2005/8/layout/hProcess9"/>
    <dgm:cxn modelId="{08FC5CB7-E66C-42F8-BC7A-AFFF558BE1F8}" type="presOf" srcId="{6B899C72-FBC1-4027-AC4A-F1CD9CB15D89}" destId="{620A2D5E-EF7B-491D-9F0A-298CE4A4B031}" srcOrd="0" destOrd="0" presId="urn:microsoft.com/office/officeart/2005/8/layout/hProcess9"/>
    <dgm:cxn modelId="{F7B5B544-65A1-4F8B-9BFB-01D77A675042}" type="presParOf" srcId="{620A2D5E-EF7B-491D-9F0A-298CE4A4B031}" destId="{FA66CAE9-077E-4F1A-B801-A1A434AD9F1D}" srcOrd="0" destOrd="0" presId="urn:microsoft.com/office/officeart/2005/8/layout/hProcess9"/>
    <dgm:cxn modelId="{7D80F52A-822B-4AA6-9C4B-88298AAF8AFC}" type="presParOf" srcId="{620A2D5E-EF7B-491D-9F0A-298CE4A4B031}" destId="{1F24D193-E813-45A0-9C78-5C62F4DA34E1}" srcOrd="1" destOrd="0" presId="urn:microsoft.com/office/officeart/2005/8/layout/hProcess9"/>
    <dgm:cxn modelId="{7CDDCBE4-29FC-4116-B404-3C4D1E2FFE60}" type="presParOf" srcId="{1F24D193-E813-45A0-9C78-5C62F4DA34E1}" destId="{50930146-CB34-4AB5-B7F1-C2B303B23CFA}" srcOrd="0" destOrd="0" presId="urn:microsoft.com/office/officeart/2005/8/layout/hProcess9"/>
    <dgm:cxn modelId="{9878B0A0-600B-435F-94A7-B9E7E3B0B38A}" type="presParOf" srcId="{1F24D193-E813-45A0-9C78-5C62F4DA34E1}" destId="{196B4B52-002E-421D-B2F4-E110DDCCEC24}" srcOrd="1" destOrd="0" presId="urn:microsoft.com/office/officeart/2005/8/layout/hProcess9"/>
    <dgm:cxn modelId="{04C3F294-2055-409F-8CA1-FE7364F7D34B}" type="presParOf" srcId="{1F24D193-E813-45A0-9C78-5C62F4DA34E1}" destId="{664D76CD-8A46-4816-8E2C-A0A933FAFC06}" srcOrd="2" destOrd="0" presId="urn:microsoft.com/office/officeart/2005/8/layout/hProcess9"/>
    <dgm:cxn modelId="{B2CC83F0-22FD-4A30-808A-26BF0C1C8D19}" type="presParOf" srcId="{1F24D193-E813-45A0-9C78-5C62F4DA34E1}" destId="{7C616A91-97F6-4F3B-B760-0FCF4628171D}" srcOrd="3" destOrd="0" presId="urn:microsoft.com/office/officeart/2005/8/layout/hProcess9"/>
    <dgm:cxn modelId="{C7DC7317-802E-4389-BC1C-F1807B97D2E0}" type="presParOf" srcId="{1F24D193-E813-45A0-9C78-5C62F4DA34E1}" destId="{AD2265B3-B389-460D-9E92-47718169885C}" srcOrd="4" destOrd="0" presId="urn:microsoft.com/office/officeart/2005/8/layout/hProcess9"/>
    <dgm:cxn modelId="{57175ACA-13A7-4278-9193-8C05DB464404}" type="presParOf" srcId="{1F24D193-E813-45A0-9C78-5C62F4DA34E1}" destId="{43630957-3C61-4946-B726-1C57C7E39C43}" srcOrd="5" destOrd="0" presId="urn:microsoft.com/office/officeart/2005/8/layout/hProcess9"/>
    <dgm:cxn modelId="{ED525082-0407-4D88-984B-F91AE52B7A8E}" type="presParOf" srcId="{1F24D193-E813-45A0-9C78-5C62F4DA34E1}" destId="{DB59E289-9071-4DF9-8409-A3665E8CE97C}" srcOrd="6" destOrd="0" presId="urn:microsoft.com/office/officeart/2005/8/layout/hProcess9"/>
  </dgm:cxnLst>
  <dgm:bg/>
  <dgm:whole/>
  <dgm:extLst>
    <a:ext uri="http://schemas.microsoft.com/office/drawing/2008/diagram"/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CB2700-6DD9-453F-9320-D840441CBE56}" type="doc">
      <dgm:prSet loTypeId="urn:microsoft.com/office/officeart/2005/8/layout/funnel1" loCatId="relationship" qsTypeId="urn:microsoft.com/office/officeart/2005/8/quickstyle/3d4" qsCatId="3D" csTypeId="urn:microsoft.com/office/officeart/2005/8/colors/colorful2" csCatId="colorful" phldr="1"/>
      <dgm:spPr/>
      <dgm:t>
        <a:bodyPr/>
        <a:lstStyle/>
        <a:p>
          <a:endParaRPr lang="en-GB"/>
        </a:p>
      </dgm:t>
    </dgm:pt>
    <dgm:pt modelId="{6513E2C6-1C60-4276-90EA-C3E18307807E}">
      <dgm:prSet phldrT="[Text]"/>
      <dgm:spPr/>
      <dgm:t>
        <a:bodyPr/>
        <a:lstStyle/>
        <a:p>
          <a:r>
            <a:rPr lang="en-GB" dirty="0" smtClean="0"/>
            <a:t>  </a:t>
          </a:r>
          <a:endParaRPr lang="en-GB" dirty="0"/>
        </a:p>
      </dgm:t>
    </dgm:pt>
    <dgm:pt modelId="{263BF779-863D-4AB7-992F-B591916A48EE}" type="parTrans" cxnId="{DDAFDA5A-805E-4313-910C-8F1541A7CC3B}">
      <dgm:prSet/>
      <dgm:spPr/>
      <dgm:t>
        <a:bodyPr/>
        <a:lstStyle/>
        <a:p>
          <a:endParaRPr lang="en-GB"/>
        </a:p>
      </dgm:t>
    </dgm:pt>
    <dgm:pt modelId="{011D7B42-8B82-4F50-AFDB-EFE34442E8B9}" type="sibTrans" cxnId="{DDAFDA5A-805E-4313-910C-8F1541A7CC3B}">
      <dgm:prSet/>
      <dgm:spPr/>
      <dgm:t>
        <a:bodyPr/>
        <a:lstStyle/>
        <a:p>
          <a:endParaRPr lang="en-GB"/>
        </a:p>
      </dgm:t>
    </dgm:pt>
    <dgm:pt modelId="{D22D1490-2A1B-4ED2-B442-E20371C52F0A}">
      <dgm:prSet phldrT="[Text]"/>
      <dgm:spPr/>
      <dgm:t>
        <a:bodyPr/>
        <a:lstStyle/>
        <a:p>
          <a:endParaRPr lang="en-GB" dirty="0"/>
        </a:p>
      </dgm:t>
    </dgm:pt>
    <dgm:pt modelId="{20AAF795-AF66-449C-89F2-C7857C0AC0E6}" type="parTrans" cxnId="{8A628760-1E76-4D94-A0AE-7FF2CEB6E0C2}">
      <dgm:prSet/>
      <dgm:spPr/>
      <dgm:t>
        <a:bodyPr/>
        <a:lstStyle/>
        <a:p>
          <a:endParaRPr lang="en-GB"/>
        </a:p>
      </dgm:t>
    </dgm:pt>
    <dgm:pt modelId="{C7A12E76-4936-4331-9D21-4F89A69D3980}" type="sibTrans" cxnId="{8A628760-1E76-4D94-A0AE-7FF2CEB6E0C2}">
      <dgm:prSet/>
      <dgm:spPr/>
      <dgm:t>
        <a:bodyPr/>
        <a:lstStyle/>
        <a:p>
          <a:endParaRPr lang="en-GB"/>
        </a:p>
      </dgm:t>
    </dgm:pt>
    <dgm:pt modelId="{575218CA-E36F-48AE-9EFC-CC326641C4C7}">
      <dgm:prSet phldrT="[Text]" custT="1"/>
      <dgm:spPr/>
      <dgm:t>
        <a:bodyPr/>
        <a:lstStyle/>
        <a:p>
          <a:r>
            <a:rPr lang="en-GB" sz="600" dirty="0" smtClean="0"/>
            <a:t>  </a:t>
          </a:r>
          <a:r>
            <a:rPr lang="en-GB" sz="1600" b="1" dirty="0" smtClean="0">
              <a:solidFill>
                <a:schemeClr val="bg1"/>
              </a:solidFill>
            </a:rPr>
            <a:t>Assess</a:t>
          </a:r>
          <a:endParaRPr lang="en-GB" sz="1600" b="1" dirty="0">
            <a:solidFill>
              <a:schemeClr val="bg1"/>
            </a:solidFill>
          </a:endParaRPr>
        </a:p>
      </dgm:t>
    </dgm:pt>
    <dgm:pt modelId="{57C4F7C5-D67B-407D-B8DF-4801783C7EA5}" type="parTrans" cxnId="{98644CDF-1CCA-4D99-8A8B-39BF0E5B9970}">
      <dgm:prSet/>
      <dgm:spPr/>
      <dgm:t>
        <a:bodyPr/>
        <a:lstStyle/>
        <a:p>
          <a:endParaRPr lang="en-GB"/>
        </a:p>
      </dgm:t>
    </dgm:pt>
    <dgm:pt modelId="{66706A81-BDD7-4CD5-9E7D-585264A3A6A1}" type="sibTrans" cxnId="{98644CDF-1CCA-4D99-8A8B-39BF0E5B9970}">
      <dgm:prSet/>
      <dgm:spPr/>
      <dgm:t>
        <a:bodyPr/>
        <a:lstStyle/>
        <a:p>
          <a:endParaRPr lang="en-GB"/>
        </a:p>
      </dgm:t>
    </dgm:pt>
    <dgm:pt modelId="{22780D39-94F1-4856-917F-AF86EA4A96AB}">
      <dgm:prSet phldrT="[Text]"/>
      <dgm:spPr/>
      <dgm:t>
        <a:bodyPr/>
        <a:lstStyle/>
        <a:p>
          <a:endParaRPr lang="en-GB" dirty="0"/>
        </a:p>
      </dgm:t>
    </dgm:pt>
    <dgm:pt modelId="{24CDB51E-A84C-4DE7-94B5-2577513F85F3}" type="parTrans" cxnId="{FBFECA91-B874-4EB7-9B22-F34246817F49}">
      <dgm:prSet/>
      <dgm:spPr/>
      <dgm:t>
        <a:bodyPr/>
        <a:lstStyle/>
        <a:p>
          <a:endParaRPr lang="en-GB"/>
        </a:p>
      </dgm:t>
    </dgm:pt>
    <dgm:pt modelId="{27596659-E3FB-43FB-B129-4962267DFAAB}" type="sibTrans" cxnId="{FBFECA91-B874-4EB7-9B22-F34246817F49}">
      <dgm:prSet/>
      <dgm:spPr/>
      <dgm:t>
        <a:bodyPr/>
        <a:lstStyle/>
        <a:p>
          <a:endParaRPr lang="en-GB"/>
        </a:p>
      </dgm:t>
    </dgm:pt>
    <dgm:pt modelId="{8F477117-2E1D-4268-BFD6-87ABE85AC580}" type="pres">
      <dgm:prSet presAssocID="{44CB2700-6DD9-453F-9320-D840441CBE56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EB9D72B4-F2B9-4F32-9FFD-A529DE9D7C3C}" type="pres">
      <dgm:prSet presAssocID="{44CB2700-6DD9-453F-9320-D840441CBE56}" presName="ellipse" presStyleLbl="trBgShp" presStyleIdx="0" presStyleCnt="1"/>
      <dgm:spPr/>
      <dgm:t>
        <a:bodyPr/>
        <a:lstStyle/>
        <a:p>
          <a:endParaRPr lang="en-GB"/>
        </a:p>
      </dgm:t>
    </dgm:pt>
    <dgm:pt modelId="{23B31506-BDFD-4193-AE5D-D71A14A3BA63}" type="pres">
      <dgm:prSet presAssocID="{44CB2700-6DD9-453F-9320-D840441CBE56}" presName="arrow1" presStyleLbl="fgShp" presStyleIdx="0" presStyleCnt="1"/>
      <dgm:spPr/>
      <dgm:t>
        <a:bodyPr/>
        <a:lstStyle/>
        <a:p>
          <a:endParaRPr lang="en-GB"/>
        </a:p>
      </dgm:t>
    </dgm:pt>
    <dgm:pt modelId="{ECDB4DC9-11E2-4EEE-9D44-0DCCD3D59212}" type="pres">
      <dgm:prSet presAssocID="{44CB2700-6DD9-453F-9320-D840441CBE56}" presName="rectangle" presStyleLbl="revTx" presStyleIdx="0" presStyleCnt="1" custScaleX="137386" custScaleY="10603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98B7A4E-3135-4DE8-A665-7CB64242B8F1}" type="pres">
      <dgm:prSet presAssocID="{D22D1490-2A1B-4ED2-B442-E20371C52F0A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6DAD896-CB7F-4DD1-A63A-D4C91016F86E}" type="pres">
      <dgm:prSet presAssocID="{22780D39-94F1-4856-917F-AF86EA4A96AB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6FDEC80-C8C9-446C-8097-261B6395C875}" type="pres">
      <dgm:prSet presAssocID="{575218CA-E36F-48AE-9EFC-CC326641C4C7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6CF29D1-CFA5-4B9A-BCEA-A3B9F2948B49}" type="pres">
      <dgm:prSet presAssocID="{44CB2700-6DD9-453F-9320-D840441CBE56}" presName="funnel" presStyleLbl="trAlignAcc1" presStyleIdx="0" presStyleCnt="1"/>
      <dgm:spPr/>
      <dgm:t>
        <a:bodyPr/>
        <a:lstStyle/>
        <a:p>
          <a:endParaRPr lang="en-GB"/>
        </a:p>
      </dgm:t>
    </dgm:pt>
  </dgm:ptLst>
  <dgm:cxnLst>
    <dgm:cxn modelId="{C1847598-16EF-4EAB-BB4F-DE5D82A04775}" type="presOf" srcId="{575218CA-E36F-48AE-9EFC-CC326641C4C7}" destId="{ECDB4DC9-11E2-4EEE-9D44-0DCCD3D59212}" srcOrd="0" destOrd="0" presId="urn:microsoft.com/office/officeart/2005/8/layout/funnel1"/>
    <dgm:cxn modelId="{8A628760-1E76-4D94-A0AE-7FF2CEB6E0C2}" srcId="{44CB2700-6DD9-453F-9320-D840441CBE56}" destId="{D22D1490-2A1B-4ED2-B442-E20371C52F0A}" srcOrd="1" destOrd="0" parTransId="{20AAF795-AF66-449C-89F2-C7857C0AC0E6}" sibTransId="{C7A12E76-4936-4331-9D21-4F89A69D3980}"/>
    <dgm:cxn modelId="{98644CDF-1CCA-4D99-8A8B-39BF0E5B9970}" srcId="{44CB2700-6DD9-453F-9320-D840441CBE56}" destId="{575218CA-E36F-48AE-9EFC-CC326641C4C7}" srcOrd="3" destOrd="0" parTransId="{57C4F7C5-D67B-407D-B8DF-4801783C7EA5}" sibTransId="{66706A81-BDD7-4CD5-9E7D-585264A3A6A1}"/>
    <dgm:cxn modelId="{DDAFDA5A-805E-4313-910C-8F1541A7CC3B}" srcId="{44CB2700-6DD9-453F-9320-D840441CBE56}" destId="{6513E2C6-1C60-4276-90EA-C3E18307807E}" srcOrd="0" destOrd="0" parTransId="{263BF779-863D-4AB7-992F-B591916A48EE}" sibTransId="{011D7B42-8B82-4F50-AFDB-EFE34442E8B9}"/>
    <dgm:cxn modelId="{BB94C51B-721B-4D61-A509-39D7B7DD1263}" type="presOf" srcId="{22780D39-94F1-4856-917F-AF86EA4A96AB}" destId="{E98B7A4E-3135-4DE8-A665-7CB64242B8F1}" srcOrd="0" destOrd="0" presId="urn:microsoft.com/office/officeart/2005/8/layout/funnel1"/>
    <dgm:cxn modelId="{14337659-4764-4E09-B188-52555F64F6CC}" type="presOf" srcId="{D22D1490-2A1B-4ED2-B442-E20371C52F0A}" destId="{56DAD896-CB7F-4DD1-A63A-D4C91016F86E}" srcOrd="0" destOrd="0" presId="urn:microsoft.com/office/officeart/2005/8/layout/funnel1"/>
    <dgm:cxn modelId="{FBFECA91-B874-4EB7-9B22-F34246817F49}" srcId="{44CB2700-6DD9-453F-9320-D840441CBE56}" destId="{22780D39-94F1-4856-917F-AF86EA4A96AB}" srcOrd="2" destOrd="0" parTransId="{24CDB51E-A84C-4DE7-94B5-2577513F85F3}" sibTransId="{27596659-E3FB-43FB-B129-4962267DFAAB}"/>
    <dgm:cxn modelId="{6CB089A9-96DF-4902-87F6-9D758B2F96A2}" type="presOf" srcId="{6513E2C6-1C60-4276-90EA-C3E18307807E}" destId="{56FDEC80-C8C9-446C-8097-261B6395C875}" srcOrd="0" destOrd="0" presId="urn:microsoft.com/office/officeart/2005/8/layout/funnel1"/>
    <dgm:cxn modelId="{02E17619-552F-441A-A6A1-A3D267303FC2}" type="presOf" srcId="{44CB2700-6DD9-453F-9320-D840441CBE56}" destId="{8F477117-2E1D-4268-BFD6-87ABE85AC580}" srcOrd="0" destOrd="0" presId="urn:microsoft.com/office/officeart/2005/8/layout/funnel1"/>
    <dgm:cxn modelId="{684451D1-0D2F-40B7-94F8-EBE88CCF575A}" type="presParOf" srcId="{8F477117-2E1D-4268-BFD6-87ABE85AC580}" destId="{EB9D72B4-F2B9-4F32-9FFD-A529DE9D7C3C}" srcOrd="0" destOrd="0" presId="urn:microsoft.com/office/officeart/2005/8/layout/funnel1"/>
    <dgm:cxn modelId="{2DD2008E-2849-49EE-9BD7-1F9760F72A26}" type="presParOf" srcId="{8F477117-2E1D-4268-BFD6-87ABE85AC580}" destId="{23B31506-BDFD-4193-AE5D-D71A14A3BA63}" srcOrd="1" destOrd="0" presId="urn:microsoft.com/office/officeart/2005/8/layout/funnel1"/>
    <dgm:cxn modelId="{0CF03811-F036-40CC-9AD5-C94BAB9FAC7D}" type="presParOf" srcId="{8F477117-2E1D-4268-BFD6-87ABE85AC580}" destId="{ECDB4DC9-11E2-4EEE-9D44-0DCCD3D59212}" srcOrd="2" destOrd="0" presId="urn:microsoft.com/office/officeart/2005/8/layout/funnel1"/>
    <dgm:cxn modelId="{61F2510B-5D08-45D6-A63A-5B7CE2A5E1BB}" type="presParOf" srcId="{8F477117-2E1D-4268-BFD6-87ABE85AC580}" destId="{E98B7A4E-3135-4DE8-A665-7CB64242B8F1}" srcOrd="3" destOrd="0" presId="urn:microsoft.com/office/officeart/2005/8/layout/funnel1"/>
    <dgm:cxn modelId="{7C1E1DD5-92D8-4AAE-BC9F-67B49D469BF2}" type="presParOf" srcId="{8F477117-2E1D-4268-BFD6-87ABE85AC580}" destId="{56DAD896-CB7F-4DD1-A63A-D4C91016F86E}" srcOrd="4" destOrd="0" presId="urn:microsoft.com/office/officeart/2005/8/layout/funnel1"/>
    <dgm:cxn modelId="{7C8FECDA-3981-4ACF-A03D-21DC6842511F}" type="presParOf" srcId="{8F477117-2E1D-4268-BFD6-87ABE85AC580}" destId="{56FDEC80-C8C9-446C-8097-261B6395C875}" srcOrd="5" destOrd="0" presId="urn:microsoft.com/office/officeart/2005/8/layout/funnel1"/>
    <dgm:cxn modelId="{CCBEDBC8-0346-48F7-BCBC-FB7471B9FC02}" type="presParOf" srcId="{8F477117-2E1D-4268-BFD6-87ABE85AC580}" destId="{B6CF29D1-CFA5-4B9A-BCEA-A3B9F2948B49}" srcOrd="6" destOrd="0" presId="urn:microsoft.com/office/officeart/2005/8/layout/funnel1"/>
  </dgm:cxnLst>
  <dgm:bg/>
  <dgm:whole/>
  <dgm:extLst>
    <a:ext uri="http://schemas.microsoft.com/office/drawing/2008/diagram"/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6EB88A8-CA98-4DA3-9E33-CD5EAF4CAE50}" type="doc">
      <dgm:prSet loTypeId="urn:microsoft.com/office/officeart/2005/8/layout/vList5" loCatId="list" qsTypeId="urn:microsoft.com/office/officeart/2005/8/quickstyle/simple1#10" qsCatId="simple" csTypeId="urn:microsoft.com/office/officeart/2005/8/colors/accent1_2#13" csCatId="accent1" phldr="1"/>
      <dgm:spPr/>
      <dgm:t>
        <a:bodyPr/>
        <a:lstStyle/>
        <a:p>
          <a:endParaRPr lang="en-US"/>
        </a:p>
      </dgm:t>
    </dgm:pt>
    <dgm:pt modelId="{C0EE20CA-793F-48E0-9BC0-0966B91CDDA1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Consolidate overlapping services</a:t>
          </a:r>
          <a:endParaRPr lang="en-US" sz="2000" dirty="0">
            <a:solidFill>
              <a:srgbClr val="080808"/>
            </a:solidFill>
          </a:endParaRPr>
        </a:p>
      </dgm:t>
    </dgm:pt>
    <dgm:pt modelId="{29867933-0B03-4604-8EE4-57E1C4015C43}" type="parTrans" cxnId="{BC95CFCF-87C3-4FEB-A079-55441BDEBEBB}">
      <dgm:prSet/>
      <dgm:spPr/>
      <dgm:t>
        <a:bodyPr/>
        <a:lstStyle/>
        <a:p>
          <a:endParaRPr lang="en-US" sz="1600"/>
        </a:p>
      </dgm:t>
    </dgm:pt>
    <dgm:pt modelId="{C1848EF4-B112-44DF-B05F-03CC2702C0BC}" type="sibTrans" cxnId="{BC95CFCF-87C3-4FEB-A079-55441BDEBEBB}">
      <dgm:prSet/>
      <dgm:spPr/>
      <dgm:t>
        <a:bodyPr/>
        <a:lstStyle/>
        <a:p>
          <a:endParaRPr lang="en-US" sz="1600"/>
        </a:p>
      </dgm:t>
    </dgm:pt>
    <dgm:pt modelId="{95D859C2-764A-420E-BBD4-0B3736B40095}">
      <dgm:prSet phldrT="[Text]" custT="1"/>
      <dgm:spPr>
        <a:solidFill>
          <a:schemeClr val="accent2"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The “best” service is chosen and enhanced to integrate with other silos</a:t>
          </a:r>
          <a:endParaRPr lang="en-US" sz="2000" dirty="0">
            <a:solidFill>
              <a:srgbClr val="080808"/>
            </a:solidFill>
          </a:endParaRPr>
        </a:p>
      </dgm:t>
    </dgm:pt>
    <dgm:pt modelId="{5B1D4C9D-32A5-4A83-AF37-F5D3A4575564}" type="parTrans" cxnId="{0935CFC4-18EF-4843-A15D-F4B57E101E02}">
      <dgm:prSet/>
      <dgm:spPr/>
      <dgm:t>
        <a:bodyPr/>
        <a:lstStyle/>
        <a:p>
          <a:endParaRPr lang="en-US" sz="1600"/>
        </a:p>
      </dgm:t>
    </dgm:pt>
    <dgm:pt modelId="{D5DE490C-3D2F-449D-B813-A247094796C7}" type="sibTrans" cxnId="{0935CFC4-18EF-4843-A15D-F4B57E101E02}">
      <dgm:prSet/>
      <dgm:spPr/>
      <dgm:t>
        <a:bodyPr/>
        <a:lstStyle/>
        <a:p>
          <a:endParaRPr lang="en-US" sz="1600"/>
        </a:p>
      </dgm:t>
    </dgm:pt>
    <dgm:pt modelId="{9D672A7D-40D9-49E4-9FA5-4820AF23F55C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Enhance existing services</a:t>
          </a:r>
          <a:endParaRPr lang="en-US" sz="2000" dirty="0">
            <a:solidFill>
              <a:srgbClr val="080808"/>
            </a:solidFill>
          </a:endParaRPr>
        </a:p>
      </dgm:t>
    </dgm:pt>
    <dgm:pt modelId="{860FC024-CB5F-4B5A-BFF4-2A5BCAC4E6AD}" type="parTrans" cxnId="{48196A63-FCF1-4792-A9F2-9A09B1146EB4}">
      <dgm:prSet/>
      <dgm:spPr/>
      <dgm:t>
        <a:bodyPr/>
        <a:lstStyle/>
        <a:p>
          <a:endParaRPr lang="en-US" sz="1600"/>
        </a:p>
      </dgm:t>
    </dgm:pt>
    <dgm:pt modelId="{3C635E67-1679-48CD-9362-B57A1033AF74}" type="sibTrans" cxnId="{48196A63-FCF1-4792-A9F2-9A09B1146EB4}">
      <dgm:prSet/>
      <dgm:spPr/>
      <dgm:t>
        <a:bodyPr/>
        <a:lstStyle/>
        <a:p>
          <a:endParaRPr lang="en-US" sz="1600"/>
        </a:p>
      </dgm:t>
    </dgm:pt>
    <dgm:pt modelId="{C2726B83-68A7-41EA-A6CE-636082DF845C}">
      <dgm:prSet phldrT="[Text]" custT="1"/>
      <dgm:spPr>
        <a:solidFill>
          <a:schemeClr val="accent2"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Current services are re-evaluated for enhancements towards multi-tenancy</a:t>
          </a:r>
          <a:endParaRPr lang="en-US" sz="2000" dirty="0">
            <a:solidFill>
              <a:srgbClr val="080808"/>
            </a:solidFill>
          </a:endParaRPr>
        </a:p>
      </dgm:t>
    </dgm:pt>
    <dgm:pt modelId="{705D811F-5D5C-48E5-9A4C-27BE8EDAAB39}" type="parTrans" cxnId="{EA1BA0A6-2B64-48C4-8148-773F96F3D16B}">
      <dgm:prSet/>
      <dgm:spPr/>
      <dgm:t>
        <a:bodyPr/>
        <a:lstStyle/>
        <a:p>
          <a:endParaRPr lang="en-US" sz="1600"/>
        </a:p>
      </dgm:t>
    </dgm:pt>
    <dgm:pt modelId="{2E69EA30-1309-4F1E-9F36-BA4B0C6E2BBE}" type="sibTrans" cxnId="{EA1BA0A6-2B64-48C4-8148-773F96F3D16B}">
      <dgm:prSet/>
      <dgm:spPr/>
      <dgm:t>
        <a:bodyPr/>
        <a:lstStyle/>
        <a:p>
          <a:endParaRPr lang="en-US" sz="1600"/>
        </a:p>
      </dgm:t>
    </dgm:pt>
    <dgm:pt modelId="{4E627F14-2CBA-4F4D-ABED-3FAAF2B757BD}">
      <dgm:prSet phldrT="[Text]" custT="1"/>
      <dgm:spPr>
        <a:solidFill>
          <a:schemeClr val="tx2"/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Build new services</a:t>
          </a:r>
          <a:endParaRPr lang="en-US" sz="2000" dirty="0">
            <a:solidFill>
              <a:srgbClr val="080808"/>
            </a:solidFill>
          </a:endParaRPr>
        </a:p>
      </dgm:t>
    </dgm:pt>
    <dgm:pt modelId="{A60A859B-1E36-4F2D-A5DA-7B6177AE4F3A}" type="parTrans" cxnId="{C3F75674-23B3-4EAD-91C7-7A7BC2A79B03}">
      <dgm:prSet/>
      <dgm:spPr/>
      <dgm:t>
        <a:bodyPr/>
        <a:lstStyle/>
        <a:p>
          <a:endParaRPr lang="en-US" sz="1600"/>
        </a:p>
      </dgm:t>
    </dgm:pt>
    <dgm:pt modelId="{F5877452-F5DE-4CA7-B277-B8F4AEAA5164}" type="sibTrans" cxnId="{C3F75674-23B3-4EAD-91C7-7A7BC2A79B03}">
      <dgm:prSet/>
      <dgm:spPr/>
      <dgm:t>
        <a:bodyPr/>
        <a:lstStyle/>
        <a:p>
          <a:endParaRPr lang="en-US" sz="1600"/>
        </a:p>
      </dgm:t>
    </dgm:pt>
    <dgm:pt modelId="{FA023642-5741-4218-8F8D-8FBF4512346A}">
      <dgm:prSet phldrT="[Text]" custT="1"/>
      <dgm:spPr>
        <a:solidFill>
          <a:schemeClr val="accent2">
            <a:alpha val="90000"/>
          </a:schemeClr>
        </a:solidFill>
      </dgm:spPr>
      <dgm:t>
        <a:bodyPr/>
        <a:lstStyle/>
        <a:p>
          <a:r>
            <a:rPr lang="en-US" sz="2000" dirty="0" smtClean="0">
              <a:solidFill>
                <a:srgbClr val="080808"/>
              </a:solidFill>
            </a:rPr>
            <a:t>New services are architected to drive Multitenancy acceptance</a:t>
          </a:r>
          <a:endParaRPr lang="en-US" sz="2000" dirty="0">
            <a:solidFill>
              <a:srgbClr val="080808"/>
            </a:solidFill>
          </a:endParaRPr>
        </a:p>
      </dgm:t>
    </dgm:pt>
    <dgm:pt modelId="{525BD990-DA64-4B60-9964-FEABEE372758}" type="parTrans" cxnId="{3D776C20-6328-4783-AA13-305363168CED}">
      <dgm:prSet/>
      <dgm:spPr/>
      <dgm:t>
        <a:bodyPr/>
        <a:lstStyle/>
        <a:p>
          <a:endParaRPr lang="en-US" sz="1600"/>
        </a:p>
      </dgm:t>
    </dgm:pt>
    <dgm:pt modelId="{8565895C-4E50-4CAF-BAA2-41C6C27472DC}" type="sibTrans" cxnId="{3D776C20-6328-4783-AA13-305363168CED}">
      <dgm:prSet/>
      <dgm:spPr/>
      <dgm:t>
        <a:bodyPr/>
        <a:lstStyle/>
        <a:p>
          <a:endParaRPr lang="en-US" sz="1600"/>
        </a:p>
      </dgm:t>
    </dgm:pt>
    <dgm:pt modelId="{EC3AEE2D-9DDC-4A28-AAAF-2A8CD015DA73}" type="pres">
      <dgm:prSet presAssocID="{F6EB88A8-CA98-4DA3-9E33-CD5EAF4CAE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6BC215E-7FD1-4B72-B322-7C3428C3C7F6}" type="pres">
      <dgm:prSet presAssocID="{C0EE20CA-793F-48E0-9BC0-0966B91CDDA1}" presName="linNode" presStyleCnt="0"/>
      <dgm:spPr/>
    </dgm:pt>
    <dgm:pt modelId="{13E78F83-62F1-4FC0-832F-F846219D31C1}" type="pres">
      <dgm:prSet presAssocID="{C0EE20CA-793F-48E0-9BC0-0966B91CDDA1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3774E1-F5BD-45CF-BF53-F4C90653D376}" type="pres">
      <dgm:prSet presAssocID="{C0EE20CA-793F-48E0-9BC0-0966B91CDDA1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D9E96A-0674-4702-ADCF-7399A3C3EF8D}" type="pres">
      <dgm:prSet presAssocID="{C1848EF4-B112-44DF-B05F-03CC2702C0BC}" presName="sp" presStyleCnt="0"/>
      <dgm:spPr/>
    </dgm:pt>
    <dgm:pt modelId="{130C0D53-9C71-4FC1-B960-6C2C70F5F552}" type="pres">
      <dgm:prSet presAssocID="{9D672A7D-40D9-49E4-9FA5-4820AF23F55C}" presName="linNode" presStyleCnt="0"/>
      <dgm:spPr/>
    </dgm:pt>
    <dgm:pt modelId="{7A1F00AD-D223-4DF6-8A24-DAC1B07A5435}" type="pres">
      <dgm:prSet presAssocID="{9D672A7D-40D9-49E4-9FA5-4820AF23F55C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80DBAA-9B72-4DBB-B15F-80C373457841}" type="pres">
      <dgm:prSet presAssocID="{9D672A7D-40D9-49E4-9FA5-4820AF23F55C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51A171-F426-40D3-8CD5-F4A6B2A5D068}" type="pres">
      <dgm:prSet presAssocID="{3C635E67-1679-48CD-9362-B57A1033AF74}" presName="sp" presStyleCnt="0"/>
      <dgm:spPr/>
    </dgm:pt>
    <dgm:pt modelId="{2E8CF134-39A6-427F-B0AB-8384D8AF0C2E}" type="pres">
      <dgm:prSet presAssocID="{4E627F14-2CBA-4F4D-ABED-3FAAF2B757BD}" presName="linNode" presStyleCnt="0"/>
      <dgm:spPr/>
    </dgm:pt>
    <dgm:pt modelId="{E6CEC5C3-ADBF-45C7-95A2-8A48CB69745C}" type="pres">
      <dgm:prSet presAssocID="{4E627F14-2CBA-4F4D-ABED-3FAAF2B757BD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5CCC3B0-9CAE-4C76-8D41-28658E4F65A2}" type="pres">
      <dgm:prSet presAssocID="{4E627F14-2CBA-4F4D-ABED-3FAAF2B757BD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C95CFCF-87C3-4FEB-A079-55441BDEBEBB}" srcId="{F6EB88A8-CA98-4DA3-9E33-CD5EAF4CAE50}" destId="{C0EE20CA-793F-48E0-9BC0-0966B91CDDA1}" srcOrd="0" destOrd="0" parTransId="{29867933-0B03-4604-8EE4-57E1C4015C43}" sibTransId="{C1848EF4-B112-44DF-B05F-03CC2702C0BC}"/>
    <dgm:cxn modelId="{63CAE080-D1C6-4D43-B91F-55737DF57358}" type="presOf" srcId="{C0EE20CA-793F-48E0-9BC0-0966B91CDDA1}" destId="{13E78F83-62F1-4FC0-832F-F846219D31C1}" srcOrd="0" destOrd="0" presId="urn:microsoft.com/office/officeart/2005/8/layout/vList5"/>
    <dgm:cxn modelId="{90C0D496-22C1-403C-A41A-58A50D6E17BE}" type="presOf" srcId="{C2726B83-68A7-41EA-A6CE-636082DF845C}" destId="{9980DBAA-9B72-4DBB-B15F-80C373457841}" srcOrd="0" destOrd="0" presId="urn:microsoft.com/office/officeart/2005/8/layout/vList5"/>
    <dgm:cxn modelId="{EA1BA0A6-2B64-48C4-8148-773F96F3D16B}" srcId="{9D672A7D-40D9-49E4-9FA5-4820AF23F55C}" destId="{C2726B83-68A7-41EA-A6CE-636082DF845C}" srcOrd="0" destOrd="0" parTransId="{705D811F-5D5C-48E5-9A4C-27BE8EDAAB39}" sibTransId="{2E69EA30-1309-4F1E-9F36-BA4B0C6E2BBE}"/>
    <dgm:cxn modelId="{48196A63-FCF1-4792-A9F2-9A09B1146EB4}" srcId="{F6EB88A8-CA98-4DA3-9E33-CD5EAF4CAE50}" destId="{9D672A7D-40D9-49E4-9FA5-4820AF23F55C}" srcOrd="1" destOrd="0" parTransId="{860FC024-CB5F-4B5A-BFF4-2A5BCAC4E6AD}" sibTransId="{3C635E67-1679-48CD-9362-B57A1033AF74}"/>
    <dgm:cxn modelId="{92F8D619-FAD7-4F0F-8A32-DAD922005E66}" type="presOf" srcId="{4E627F14-2CBA-4F4D-ABED-3FAAF2B757BD}" destId="{E6CEC5C3-ADBF-45C7-95A2-8A48CB69745C}" srcOrd="0" destOrd="0" presId="urn:microsoft.com/office/officeart/2005/8/layout/vList5"/>
    <dgm:cxn modelId="{DDBB9607-B849-4E05-8550-2EF6144D692D}" type="presOf" srcId="{FA023642-5741-4218-8F8D-8FBF4512346A}" destId="{75CCC3B0-9CAE-4C76-8D41-28658E4F65A2}" srcOrd="0" destOrd="0" presId="urn:microsoft.com/office/officeart/2005/8/layout/vList5"/>
    <dgm:cxn modelId="{3D776C20-6328-4783-AA13-305363168CED}" srcId="{4E627F14-2CBA-4F4D-ABED-3FAAF2B757BD}" destId="{FA023642-5741-4218-8F8D-8FBF4512346A}" srcOrd="0" destOrd="0" parTransId="{525BD990-DA64-4B60-9964-FEABEE372758}" sibTransId="{8565895C-4E50-4CAF-BAA2-41C6C27472DC}"/>
    <dgm:cxn modelId="{F206B53C-95A9-4AFB-B115-11459342CA85}" type="presOf" srcId="{95D859C2-764A-420E-BBD4-0B3736B40095}" destId="{743774E1-F5BD-45CF-BF53-F4C90653D376}" srcOrd="0" destOrd="0" presId="urn:microsoft.com/office/officeart/2005/8/layout/vList5"/>
    <dgm:cxn modelId="{C3F75674-23B3-4EAD-91C7-7A7BC2A79B03}" srcId="{F6EB88A8-CA98-4DA3-9E33-CD5EAF4CAE50}" destId="{4E627F14-2CBA-4F4D-ABED-3FAAF2B757BD}" srcOrd="2" destOrd="0" parTransId="{A60A859B-1E36-4F2D-A5DA-7B6177AE4F3A}" sibTransId="{F5877452-F5DE-4CA7-B277-B8F4AEAA5164}"/>
    <dgm:cxn modelId="{0935CFC4-18EF-4843-A15D-F4B57E101E02}" srcId="{C0EE20CA-793F-48E0-9BC0-0966B91CDDA1}" destId="{95D859C2-764A-420E-BBD4-0B3736B40095}" srcOrd="0" destOrd="0" parTransId="{5B1D4C9D-32A5-4A83-AF37-F5D3A4575564}" sibTransId="{D5DE490C-3D2F-449D-B813-A247094796C7}"/>
    <dgm:cxn modelId="{15698698-E76B-4F0B-9571-F545BF1C2744}" type="presOf" srcId="{9D672A7D-40D9-49E4-9FA5-4820AF23F55C}" destId="{7A1F00AD-D223-4DF6-8A24-DAC1B07A5435}" srcOrd="0" destOrd="0" presId="urn:microsoft.com/office/officeart/2005/8/layout/vList5"/>
    <dgm:cxn modelId="{AD737079-8B4C-4039-9D1A-D12E22B360DF}" type="presOf" srcId="{F6EB88A8-CA98-4DA3-9E33-CD5EAF4CAE50}" destId="{EC3AEE2D-9DDC-4A28-AAAF-2A8CD015DA73}" srcOrd="0" destOrd="0" presId="urn:microsoft.com/office/officeart/2005/8/layout/vList5"/>
    <dgm:cxn modelId="{BDB11A19-04A5-40B0-B65B-004A8EEFB1E8}" type="presParOf" srcId="{EC3AEE2D-9DDC-4A28-AAAF-2A8CD015DA73}" destId="{B6BC215E-7FD1-4B72-B322-7C3428C3C7F6}" srcOrd="0" destOrd="0" presId="urn:microsoft.com/office/officeart/2005/8/layout/vList5"/>
    <dgm:cxn modelId="{8B956076-C60D-45DD-A651-5864E6468E08}" type="presParOf" srcId="{B6BC215E-7FD1-4B72-B322-7C3428C3C7F6}" destId="{13E78F83-62F1-4FC0-832F-F846219D31C1}" srcOrd="0" destOrd="0" presId="urn:microsoft.com/office/officeart/2005/8/layout/vList5"/>
    <dgm:cxn modelId="{3B0F206D-DDEF-47DB-8826-4EB30DD37DFD}" type="presParOf" srcId="{B6BC215E-7FD1-4B72-B322-7C3428C3C7F6}" destId="{743774E1-F5BD-45CF-BF53-F4C90653D376}" srcOrd="1" destOrd="0" presId="urn:microsoft.com/office/officeart/2005/8/layout/vList5"/>
    <dgm:cxn modelId="{C9675ACB-C86D-420F-8145-98BC27C0B031}" type="presParOf" srcId="{EC3AEE2D-9DDC-4A28-AAAF-2A8CD015DA73}" destId="{8ED9E96A-0674-4702-ADCF-7399A3C3EF8D}" srcOrd="1" destOrd="0" presId="urn:microsoft.com/office/officeart/2005/8/layout/vList5"/>
    <dgm:cxn modelId="{CA6A704D-4E2D-4F78-A24C-2FB4BFE9A408}" type="presParOf" srcId="{EC3AEE2D-9DDC-4A28-AAAF-2A8CD015DA73}" destId="{130C0D53-9C71-4FC1-B960-6C2C70F5F552}" srcOrd="2" destOrd="0" presId="urn:microsoft.com/office/officeart/2005/8/layout/vList5"/>
    <dgm:cxn modelId="{ADCA87AC-8F8C-4370-8F5D-8438D0E25898}" type="presParOf" srcId="{130C0D53-9C71-4FC1-B960-6C2C70F5F552}" destId="{7A1F00AD-D223-4DF6-8A24-DAC1B07A5435}" srcOrd="0" destOrd="0" presId="urn:microsoft.com/office/officeart/2005/8/layout/vList5"/>
    <dgm:cxn modelId="{7D2D92E3-ACE4-423F-AC68-551A0F2814C9}" type="presParOf" srcId="{130C0D53-9C71-4FC1-B960-6C2C70F5F552}" destId="{9980DBAA-9B72-4DBB-B15F-80C373457841}" srcOrd="1" destOrd="0" presId="urn:microsoft.com/office/officeart/2005/8/layout/vList5"/>
    <dgm:cxn modelId="{660D9846-9AFB-4DE7-9F0A-C4F6949CC5D3}" type="presParOf" srcId="{EC3AEE2D-9DDC-4A28-AAAF-2A8CD015DA73}" destId="{2D51A171-F426-40D3-8CD5-F4A6B2A5D068}" srcOrd="3" destOrd="0" presId="urn:microsoft.com/office/officeart/2005/8/layout/vList5"/>
    <dgm:cxn modelId="{E4D991DA-7DF5-4AE2-9E32-4F670FA4BA69}" type="presParOf" srcId="{EC3AEE2D-9DDC-4A28-AAAF-2A8CD015DA73}" destId="{2E8CF134-39A6-427F-B0AB-8384D8AF0C2E}" srcOrd="4" destOrd="0" presId="urn:microsoft.com/office/officeart/2005/8/layout/vList5"/>
    <dgm:cxn modelId="{11E1ABC2-06D9-4E15-97F4-A09E3A691D30}" type="presParOf" srcId="{2E8CF134-39A6-427F-B0AB-8384D8AF0C2E}" destId="{E6CEC5C3-ADBF-45C7-95A2-8A48CB69745C}" srcOrd="0" destOrd="0" presId="urn:microsoft.com/office/officeart/2005/8/layout/vList5"/>
    <dgm:cxn modelId="{4EBF4482-8EC7-4C1A-968D-5FA3760FCD25}" type="presParOf" srcId="{2E8CF134-39A6-427F-B0AB-8384D8AF0C2E}" destId="{75CCC3B0-9CAE-4C76-8D41-28658E4F65A2}" srcOrd="1" destOrd="0" presId="urn:microsoft.com/office/officeart/2005/8/layout/vList5"/>
  </dgm:cxnLst>
  <dgm:bg/>
  <dgm:whole/>
  <dgm:extLst>
    <a:ext uri="http://schemas.microsoft.com/office/drawing/2008/diagram"/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07950" y="9086850"/>
            <a:ext cx="3114675" cy="350838"/>
          </a:xfrm>
          <a:prstGeom prst="rect">
            <a:avLst/>
          </a:prstGeom>
        </p:spPr>
        <p:txBody>
          <a:bodyPr vert="horz" wrap="square" lIns="95059" tIns="47530" rIns="95059" bIns="47530" rtlCol="0" anchor="ctr" anchorCtr="0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 smtClean="0">
                <a:solidFill>
                  <a:srgbClr val="8E8E9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© 2009, Cisco Systems, Inc. All rights reserved.</a:t>
            </a:r>
          </a:p>
          <a:p>
            <a:pPr>
              <a:defRPr/>
            </a:pPr>
            <a:r>
              <a:rPr lang="en-US"/>
              <a:t>Presentation_ID.sc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643688" y="9078913"/>
            <a:ext cx="436562" cy="225425"/>
          </a:xfrm>
          <a:prstGeom prst="rect">
            <a:avLst/>
          </a:prstGeom>
        </p:spPr>
        <p:txBody>
          <a:bodyPr vert="horz" wrap="square" lIns="95059" tIns="47530" rIns="95059" bIns="47530" rtlCol="0" anchor="ctr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8E8E95"/>
                </a:solidFill>
                <a:latin typeface="+mn-lt"/>
              </a:defRPr>
            </a:lvl1pPr>
          </a:lstStyle>
          <a:p>
            <a:pPr>
              <a:defRPr/>
            </a:pPr>
            <a:fld id="{542C4877-B9A5-471B-83AB-4810266B4D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107950" y="9093200"/>
            <a:ext cx="6972300" cy="0"/>
          </a:xfrm>
          <a:prstGeom prst="line">
            <a:avLst/>
          </a:prstGeom>
          <a:noFill/>
          <a:ln w="12700">
            <a:solidFill>
              <a:srgbClr val="8E8E95"/>
            </a:solidFill>
            <a:round/>
            <a:headEnd type="none" w="sm" len="sm"/>
            <a:tailEnd type="none" w="sm" len="sm"/>
          </a:ln>
          <a:effectLst/>
        </p:spPr>
        <p:txBody>
          <a:bodyPr wrap="none" lIns="95059" tIns="47530" rIns="95059" bIns="4753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8E8E95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31900" y="709613"/>
            <a:ext cx="4724400" cy="3543300"/>
          </a:xfrm>
          <a:prstGeom prst="rect">
            <a:avLst/>
          </a:prstGeom>
          <a:noFill/>
          <a:ln w="9525">
            <a:solidFill>
              <a:srgbClr val="8E8E95"/>
            </a:solidFill>
          </a:ln>
        </p:spPr>
        <p:txBody>
          <a:bodyPr vert="horz" lIns="95059" tIns="47530" rIns="95059" bIns="4753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198563" y="4487863"/>
            <a:ext cx="4795837" cy="4252912"/>
          </a:xfrm>
          <a:prstGeom prst="rect">
            <a:avLst/>
          </a:prstGeom>
        </p:spPr>
        <p:txBody>
          <a:bodyPr vert="horz" lIns="95059" tIns="47530" rIns="95059" bIns="4753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7950" y="9088438"/>
            <a:ext cx="2860675" cy="341312"/>
          </a:xfrm>
          <a:prstGeom prst="rect">
            <a:avLst/>
          </a:prstGeom>
        </p:spPr>
        <p:txBody>
          <a:bodyPr vert="horz" wrap="square" lIns="95059" tIns="47530" rIns="95059" bIns="47530" rtlCol="0" anchor="ctr" anchorCtr="0">
            <a:spAutoFit/>
          </a:bodyPr>
          <a:lstStyle>
            <a:lvl1pPr marL="0" marR="0" indent="0" algn="l" defTabSz="9505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dirty="0" smtClean="0">
                <a:solidFill>
                  <a:srgbClr val="8E8E95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© 2009, Cisco Systems, Inc. All rights reserved.</a:t>
            </a:r>
          </a:p>
          <a:p>
            <a:pPr>
              <a:defRPr/>
            </a:pPr>
            <a:r>
              <a:rPr lang="en-US"/>
              <a:t>Presentation_ID.sc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673850" y="9082088"/>
            <a:ext cx="406400" cy="222250"/>
          </a:xfrm>
          <a:prstGeom prst="rect">
            <a:avLst/>
          </a:prstGeom>
        </p:spPr>
        <p:txBody>
          <a:bodyPr vert="horz" wrap="square" lIns="95059" tIns="47530" rIns="95059" bIns="47530" rtlCol="0" anchor="ctr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solidFill>
                  <a:srgbClr val="8E8E95"/>
                </a:solidFill>
                <a:latin typeface="+mn-lt"/>
              </a:defRPr>
            </a:lvl1pPr>
          </a:lstStyle>
          <a:p>
            <a:pPr>
              <a:defRPr/>
            </a:pPr>
            <a:fld id="{3885A330-57B5-4CDF-AD97-5B45BC14D1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107950" y="9093200"/>
            <a:ext cx="6972300" cy="0"/>
          </a:xfrm>
          <a:prstGeom prst="line">
            <a:avLst/>
          </a:prstGeom>
          <a:noFill/>
          <a:ln w="12700">
            <a:solidFill>
              <a:srgbClr val="8E8E95"/>
            </a:solidFill>
            <a:round/>
            <a:headEnd type="none" w="sm" len="sm"/>
            <a:tailEnd type="none" w="sm" len="sm"/>
          </a:ln>
          <a:effectLst/>
        </p:spPr>
        <p:txBody>
          <a:bodyPr wrap="none" lIns="95059" tIns="47530" rIns="95059" bIns="4753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8E8E95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236538" indent="-236538" algn="l" rtl="0" fontAlgn="base">
      <a:lnSpc>
        <a:spcPct val="95000"/>
      </a:lnSpc>
      <a:spcBef>
        <a:spcPts val="1438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574675" algn="l" rtl="0" fontAlgn="base">
      <a:lnSpc>
        <a:spcPct val="95000"/>
      </a:lnSpc>
      <a:spcBef>
        <a:spcPts val="838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lnSpc>
        <a:spcPct val="95000"/>
      </a:lnSpc>
      <a:spcBef>
        <a:spcPts val="838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lnSpc>
        <a:spcPct val="95000"/>
      </a:lnSpc>
      <a:spcBef>
        <a:spcPts val="838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lnSpc>
        <a:spcPct val="95000"/>
      </a:lnSpc>
      <a:spcBef>
        <a:spcPts val="838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9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509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Both</a:t>
            </a:r>
          </a:p>
        </p:txBody>
      </p:sp>
      <p:sp>
        <p:nvSpPr>
          <p:cNvPr id="5509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6CCD470-F826-4DD3-8CFA-9B95F3E7FC62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4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7446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obert</a:t>
            </a:r>
          </a:p>
        </p:txBody>
      </p:sp>
      <p:sp>
        <p:nvSpPr>
          <p:cNvPr id="57446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F1A4F65-327A-46D9-B305-FCFE2BC535A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5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765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Sid</a:t>
            </a:r>
          </a:p>
        </p:txBody>
      </p:sp>
      <p:sp>
        <p:nvSpPr>
          <p:cNvPr id="5765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C32389FC-7C3B-4D86-A353-6FDC911E14DF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785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obert</a:t>
            </a:r>
          </a:p>
          <a:p>
            <a:endParaRPr lang="en-US" smtClean="0"/>
          </a:p>
          <a:p>
            <a:r>
              <a:rPr lang="en-US" smtClean="0"/>
              <a:t>Transparency – for the service provider and tenants (KPIs and SLAs)</a:t>
            </a:r>
          </a:p>
          <a:p>
            <a:r>
              <a:rPr lang="en-US" smtClean="0"/>
              <a:t>Less intimate relationship given multiple tenant stakeholders</a:t>
            </a:r>
          </a:p>
          <a:p>
            <a:r>
              <a:rPr lang="en-US" smtClean="0"/>
              <a:t>Sourcing constraints – in-house, ASP, etc.; skill sets easily attainable, etc.</a:t>
            </a:r>
          </a:p>
        </p:txBody>
      </p:sp>
      <p:sp>
        <p:nvSpPr>
          <p:cNvPr id="5785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D1045B40-3C22-4D47-BDF1-0EABA8839601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60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8061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 typeface="Wingdings" pitchFamily="2" charset="2"/>
              <a:buNone/>
            </a:pPr>
            <a:r>
              <a:rPr lang="en-US" smtClean="0"/>
              <a:t>Sid</a:t>
            </a:r>
          </a:p>
          <a:p>
            <a:endParaRPr lang="en-US" smtClean="0"/>
          </a:p>
          <a:p>
            <a:r>
              <a:rPr lang="en-US" smtClean="0"/>
              <a:t>These organizations have potentially different biz models, etc.</a:t>
            </a:r>
          </a:p>
          <a:p>
            <a:r>
              <a:rPr lang="en-US" smtClean="0"/>
              <a:t>Organization, roles, and responsibilities  will need to be created to address the service delivery. </a:t>
            </a:r>
          </a:p>
          <a:p>
            <a:endParaRPr lang="en-US" smtClean="0"/>
          </a:p>
        </p:txBody>
      </p:sp>
      <p:sp>
        <p:nvSpPr>
          <p:cNvPr id="58061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8A0F03BC-8726-4685-9478-97EEB2406EB5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65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8265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  <a:buFont typeface="Wingdings" pitchFamily="2" charset="2"/>
              <a:buChar char="§"/>
            </a:pPr>
            <a:r>
              <a:rPr lang="en-US" sz="1600" smtClean="0"/>
              <a:t>Robert</a:t>
            </a:r>
          </a:p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  <a:buFont typeface="Wingdings" pitchFamily="2" charset="2"/>
              <a:buChar char="§"/>
            </a:pPr>
            <a:endParaRPr lang="en-US" sz="1600" smtClean="0"/>
          </a:p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  <a:buFont typeface="Wingdings" pitchFamily="2" charset="2"/>
              <a:buChar char="§"/>
            </a:pPr>
            <a:r>
              <a:rPr lang="en-US" sz="1600" smtClean="0"/>
              <a:t>Complicated interdependencies </a:t>
            </a:r>
          </a:p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  <a:buFont typeface="Wingdings" pitchFamily="2" charset="2"/>
              <a:buChar char="§"/>
            </a:pPr>
            <a:r>
              <a:rPr lang="en-US" sz="1600" smtClean="0"/>
              <a:t>Balance client’s requirements to all other tenants</a:t>
            </a:r>
          </a:p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</a:pPr>
            <a:r>
              <a:rPr lang="en-US" sz="1600" smtClean="0"/>
              <a:t>Challenge</a:t>
            </a:r>
          </a:p>
          <a:p>
            <a:pPr marL="171450" lvl="1" indent="-171450" defTabSz="755650">
              <a:lnSpc>
                <a:spcPct val="90000"/>
              </a:lnSpc>
              <a:spcAft>
                <a:spcPct val="15000"/>
              </a:spcAft>
              <a:buClr>
                <a:srgbClr val="009BCC"/>
              </a:buClr>
            </a:pPr>
            <a:r>
              <a:rPr lang="en-US" sz="1600" smtClean="0"/>
              <a:t>1) Support org will need to understand the unique components for each client in order to provide appropriate responses - clients may have different expectations or SLA’s</a:t>
            </a:r>
          </a:p>
        </p:txBody>
      </p:sp>
      <p:sp>
        <p:nvSpPr>
          <p:cNvPr id="5826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5A094FE6-31DC-43AB-B67C-7E9BE841FC44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7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857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Sid</a:t>
            </a:r>
          </a:p>
        </p:txBody>
      </p:sp>
      <p:sp>
        <p:nvSpPr>
          <p:cNvPr id="58573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98BFEC-0370-4AAA-B3C8-A0D6CBB25514}" type="slidenum">
              <a:rPr 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61" name="Rectangle 9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07950" y="9088438"/>
            <a:ext cx="2860675" cy="219075"/>
          </a:xfrm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9325" fontAlgn="base">
              <a:spcBef>
                <a:spcPct val="0"/>
              </a:spcBef>
              <a:spcAft>
                <a:spcPct val="0"/>
              </a:spcAft>
            </a:pPr>
            <a:r>
              <a:rPr lang="en-GB">
                <a:latin typeface="Arial" charset="0"/>
                <a:cs typeface="Arial" charset="0"/>
              </a:rPr>
              <a:t>© 2006 Capgemini - All rights reserved</a:t>
            </a:r>
          </a:p>
        </p:txBody>
      </p:sp>
      <p:sp>
        <p:nvSpPr>
          <p:cNvPr id="552962" name="Rectangle 10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D598FDF-7E17-457F-972F-9368326BA481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/>
          </a:p>
        </p:txBody>
      </p:sp>
      <p:sp>
        <p:nvSpPr>
          <p:cNvPr id="552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231900" y="706438"/>
            <a:ext cx="4724400" cy="3543300"/>
          </a:xfrm>
          <a:noFill/>
          <a:ln>
            <a:miter lim="800000"/>
            <a:headEnd/>
            <a:tailEnd/>
          </a:ln>
        </p:spPr>
      </p:sp>
      <p:sp>
        <p:nvSpPr>
          <p:cNvPr id="55296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138" y="4487863"/>
            <a:ext cx="5749925" cy="42529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GB" smtClean="0"/>
              <a:t>Sid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0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580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Robert</a:t>
            </a:r>
          </a:p>
          <a:p>
            <a:endParaRPr lang="en-US" dirty="0" smtClean="0"/>
          </a:p>
          <a:p>
            <a:r>
              <a:rPr lang="en-US" dirty="0" smtClean="0"/>
              <a:t>Be right back</a:t>
            </a:r>
            <a:endParaRPr lang="en-US" dirty="0" smtClean="0"/>
          </a:p>
        </p:txBody>
      </p:sp>
      <p:sp>
        <p:nvSpPr>
          <p:cNvPr id="55808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D12CF11-EE0C-47B9-B4A0-8D6960F2B7C1}" type="slidenum">
              <a:rPr 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1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611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b="1" smtClean="0"/>
              <a:t>Sid</a:t>
            </a:r>
          </a:p>
          <a:p>
            <a:endParaRPr lang="en-US" b="1" smtClean="0"/>
          </a:p>
          <a:p>
            <a:r>
              <a:rPr lang="en-US" b="1" smtClean="0"/>
              <a:t>Exploits the foundation of cloud-based services: </a:t>
            </a:r>
            <a:r>
              <a:rPr lang="en-US" smtClean="0"/>
              <a:t>Based on internal Capgemini PoV (Andy Mulholland, Capgemini CTO and co-author of Enterprise Cloud Computing) as well as external Gartner PoV (Gartner Reference Architecture for Multitenancy 8/25/2010): greatest impact is when hardware is shared (via virtualization implementation) and “everything” is shared – Application Logic, App and Data platforms and Infrastructure)</a:t>
            </a:r>
          </a:p>
          <a:p>
            <a:r>
              <a:rPr lang="en-US" b="1" smtClean="0"/>
              <a:t>Amplifies improvement in Total Cost of Ownership: </a:t>
            </a:r>
            <a:r>
              <a:rPr lang="en-US" smtClean="0"/>
              <a:t>It is vital to acknowledge that a key challenge to adopting MT and releazing the improvement in TCO is around ‘Security &amp; Compliance’ </a:t>
            </a:r>
          </a:p>
        </p:txBody>
      </p:sp>
      <p:sp>
        <p:nvSpPr>
          <p:cNvPr id="56115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90A24F4-629F-4D53-AB67-3AA075B31327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6320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Sid</a:t>
            </a:r>
          </a:p>
          <a:p>
            <a:r>
              <a:rPr lang="en-US" smtClean="0"/>
              <a:t>Shared Infrastructure is the base for multi-tenancy; if HW can not be shared, multi-tenant services can not be obtained in any cost effective manner</a:t>
            </a:r>
          </a:p>
          <a:p>
            <a:r>
              <a:rPr lang="en-US" b="1" smtClean="0"/>
              <a:t>Multiple Customers: </a:t>
            </a:r>
            <a:r>
              <a:rPr lang="en-US" smtClean="0"/>
              <a:t>Assumes a set of customers willing to share tenancy on a common platform</a:t>
            </a:r>
          </a:p>
          <a:p>
            <a:endParaRPr lang="en-US" smtClean="0"/>
          </a:p>
        </p:txBody>
      </p:sp>
      <p:sp>
        <p:nvSpPr>
          <p:cNvPr id="56320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2D3135F-5BB9-433B-BCD8-A216101400F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2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662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obert</a:t>
            </a:r>
          </a:p>
        </p:txBody>
      </p:sp>
      <p:sp>
        <p:nvSpPr>
          <p:cNvPr id="5662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65200" fontAlgn="base">
              <a:spcBef>
                <a:spcPct val="0"/>
              </a:spcBef>
              <a:spcAft>
                <a:spcPct val="0"/>
              </a:spcAft>
            </a:pPr>
            <a:fld id="{2B9E1E78-9EA4-4D20-8680-DF3F82DFBFAE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65200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32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6832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Robert</a:t>
            </a:r>
          </a:p>
        </p:txBody>
      </p:sp>
      <p:sp>
        <p:nvSpPr>
          <p:cNvPr id="56832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FD3175BB-46BA-49E5-B698-0114A578EDCA}" type="slidenum">
              <a:rPr lang="en-US">
                <a:solidFill>
                  <a:srgbClr val="000000"/>
                </a:solidFill>
                <a:latin typeface="Calibri" pitchFamily="34" charset="0"/>
              </a:rPr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3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703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Sid</a:t>
            </a:r>
          </a:p>
        </p:txBody>
      </p:sp>
      <p:sp>
        <p:nvSpPr>
          <p:cNvPr id="5703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9E1AE45-EC21-4A0C-9210-5883E73C38E8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4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102402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indent="0" defTabSz="915740" eaLnBrk="0" hangingPunct="0">
              <a:lnSpc>
                <a:spcPct val="100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en-US" dirty="0" smtClean="0"/>
              <a:t>Chargeback models include - Flat rate, Tiered, Subscription, Metered, Pay As You Go, etc.</a:t>
            </a:r>
          </a:p>
          <a:p>
            <a:pPr marL="237744" indent="-237744"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lang="en-US" dirty="0" smtClean="0"/>
              <a:t>Reducing </a:t>
            </a:r>
            <a:r>
              <a:rPr lang="en-US" dirty="0" err="1" smtClean="0"/>
              <a:t>P&amp;L</a:t>
            </a:r>
            <a:r>
              <a:rPr lang="en-US" dirty="0" smtClean="0"/>
              <a:t> exposure through accounting – </a:t>
            </a:r>
            <a:r>
              <a:rPr lang="en-US" dirty="0" err="1" smtClean="0"/>
              <a:t>CAPEX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</a:t>
            </a:r>
            <a:r>
              <a:rPr lang="en-US" dirty="0" err="1" smtClean="0"/>
              <a:t>OPEX</a:t>
            </a:r>
            <a:endParaRPr lang="en-US" dirty="0" smtClean="0"/>
          </a:p>
          <a:p>
            <a:pPr marL="237744" indent="-237744"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lang="en-US" dirty="0" err="1" smtClean="0"/>
              <a:t>TCO</a:t>
            </a:r>
            <a:r>
              <a:rPr lang="en-US" dirty="0" smtClean="0"/>
              <a:t>- (costs to create/change/ maintain) </a:t>
            </a:r>
          </a:p>
          <a:p>
            <a:pPr marL="237744" indent="-237744"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lang="en-US" dirty="0" smtClean="0"/>
              <a:t>Implication for </a:t>
            </a:r>
            <a:r>
              <a:rPr lang="en-US" dirty="0" err="1" smtClean="0"/>
              <a:t>CBOC</a:t>
            </a:r>
            <a:r>
              <a:rPr lang="en-US" dirty="0" smtClean="0"/>
              <a:t> or another board to create initial and ongoing funding approval</a:t>
            </a:r>
          </a:p>
        </p:txBody>
      </p:sp>
      <p:sp>
        <p:nvSpPr>
          <p:cNvPr id="57241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defTabSz="947738" fontAlgn="base">
              <a:spcBef>
                <a:spcPct val="0"/>
              </a:spcBef>
              <a:spcAft>
                <a:spcPct val="0"/>
              </a:spcAft>
            </a:pPr>
            <a:fld id="{26587D1F-3D10-4F89-B547-2915FBF9D9C4}" type="slidenum">
              <a:rPr lang="en-US"/>
              <a:pPr defTabSz="947738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6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7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png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8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8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9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0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0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64FDC1-0A80-4D12-9698-F6AE77A5AFEF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01EAF-632B-4542-99E8-F0BA0C6009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CAD9A6-FDC5-4A30-8494-9215634F5F29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86AAA-C6A3-419F-9FE9-1DFFA3B083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A00A1A2-F0CA-4901-BB8C-50099CA700C6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6E17C59-10D6-4B8B-A690-6860675FA54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68A8E-E176-4788-AE41-EE613F6C43E9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BD58E7-097C-4163-B206-FC28422704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78F92A5-784E-429B-AEDC-7D27C00A873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0539E59-13C9-47CB-8F6D-503672F2AC2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8C69D49C-702C-4C8E-BAD9-EE0C46BDE7F4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642AD4F-CBF0-4980-BC5C-EE68281CA37D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95EFC99-04F1-4B6C-9F01-8BEAA0411962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DEC0905-80E9-4AA5-8F2A-4FB6050E5E4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2F7C558-F282-4441-AA8E-2A6AB1C3317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13" indent="0">
              <a:buNone/>
              <a:defRPr sz="1800"/>
            </a:lvl2pPr>
            <a:lvl3pPr marL="914027" indent="0">
              <a:buNone/>
              <a:defRPr sz="1600"/>
            </a:lvl3pPr>
            <a:lvl4pPr marL="1371041" indent="0">
              <a:buNone/>
              <a:defRPr sz="1400"/>
            </a:lvl4pPr>
            <a:lvl5pPr marL="1828055" indent="0">
              <a:buNone/>
              <a:defRPr sz="1400"/>
            </a:lvl5pPr>
            <a:lvl6pPr marL="2285067" indent="0">
              <a:buNone/>
              <a:defRPr sz="1400"/>
            </a:lvl6pPr>
            <a:lvl7pPr marL="2742082" indent="0">
              <a:buNone/>
              <a:defRPr sz="1400"/>
            </a:lvl7pPr>
            <a:lvl8pPr marL="3199095" indent="0">
              <a:buNone/>
              <a:defRPr sz="1400"/>
            </a:lvl8pPr>
            <a:lvl9pPr marL="365610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332A069-5B9F-4E03-B43C-7D854646CBE1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45" y="1520833"/>
            <a:ext cx="3894137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520833"/>
            <a:ext cx="3894138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EFBC5BF-0320-4F2B-B6D1-7444786A1B3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77C8CFC-2D8C-42B9-BD7E-160D154DF3DA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3" indent="0">
              <a:buNone/>
              <a:defRPr sz="2000" b="1"/>
            </a:lvl2pPr>
            <a:lvl3pPr marL="914027" indent="0">
              <a:buNone/>
              <a:defRPr sz="1800" b="1"/>
            </a:lvl3pPr>
            <a:lvl4pPr marL="1371041" indent="0">
              <a:buNone/>
              <a:defRPr sz="1600" b="1"/>
            </a:lvl4pPr>
            <a:lvl5pPr marL="1828055" indent="0">
              <a:buNone/>
              <a:defRPr sz="1600" b="1"/>
            </a:lvl5pPr>
            <a:lvl6pPr marL="2285067" indent="0">
              <a:buNone/>
              <a:defRPr sz="1600" b="1"/>
            </a:lvl6pPr>
            <a:lvl7pPr marL="2742082" indent="0">
              <a:buNone/>
              <a:defRPr sz="1600" b="1"/>
            </a:lvl7pPr>
            <a:lvl8pPr marL="3199095" indent="0">
              <a:buNone/>
              <a:defRPr sz="1600" b="1"/>
            </a:lvl8pPr>
            <a:lvl9pPr marL="36561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8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3" indent="0">
              <a:buNone/>
              <a:defRPr sz="2000" b="1"/>
            </a:lvl2pPr>
            <a:lvl3pPr marL="914027" indent="0">
              <a:buNone/>
              <a:defRPr sz="1800" b="1"/>
            </a:lvl3pPr>
            <a:lvl4pPr marL="1371041" indent="0">
              <a:buNone/>
              <a:defRPr sz="1600" b="1"/>
            </a:lvl4pPr>
            <a:lvl5pPr marL="1828055" indent="0">
              <a:buNone/>
              <a:defRPr sz="1600" b="1"/>
            </a:lvl5pPr>
            <a:lvl6pPr marL="2285067" indent="0">
              <a:buNone/>
              <a:defRPr sz="1600" b="1"/>
            </a:lvl6pPr>
            <a:lvl7pPr marL="2742082" indent="0">
              <a:buNone/>
              <a:defRPr sz="1600" b="1"/>
            </a:lvl7pPr>
            <a:lvl8pPr marL="3199095" indent="0">
              <a:buNone/>
              <a:defRPr sz="1600" b="1"/>
            </a:lvl8pPr>
            <a:lvl9pPr marL="36561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8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B3F6565-846D-4912-9FF2-CB0330E8E03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83EF476-3C87-4ACC-BDB3-5720B38BCA4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5C87219-6FD3-4058-B57F-D578182C342C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161E0E9-04AA-4321-81D8-8EE8C0046304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6E1E5CD-AB93-4410-897C-226F7F8A8A4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85A41E4-7791-4FE1-B040-3C1724454477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E9FF42D-B955-4F6A-B048-8B378A47C165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E7C68AE-856B-4285-9FB5-3DB106F79C54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7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13" indent="0">
              <a:buNone/>
              <a:defRPr sz="1200"/>
            </a:lvl2pPr>
            <a:lvl3pPr marL="914027" indent="0">
              <a:buNone/>
              <a:defRPr sz="1000"/>
            </a:lvl3pPr>
            <a:lvl4pPr marL="1371041" indent="0">
              <a:buNone/>
              <a:defRPr sz="900"/>
            </a:lvl4pPr>
            <a:lvl5pPr marL="1828055" indent="0">
              <a:buNone/>
              <a:defRPr sz="900"/>
            </a:lvl5pPr>
            <a:lvl6pPr marL="2285067" indent="0">
              <a:buNone/>
              <a:defRPr sz="900"/>
            </a:lvl6pPr>
            <a:lvl7pPr marL="2742082" indent="0">
              <a:buNone/>
              <a:defRPr sz="900"/>
            </a:lvl7pPr>
            <a:lvl8pPr marL="3199095" indent="0">
              <a:buNone/>
              <a:defRPr sz="900"/>
            </a:lvl8pPr>
            <a:lvl9pPr marL="36561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482AC5C-F8D0-455F-9507-57574EDE12C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6384324-1033-4828-8D37-89E338C6799F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CA8C45A-0CEA-44C1-BE81-7823F50C16A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34AC809-8788-4DD7-BFD1-D5425B2360CD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13" indent="0">
              <a:buNone/>
              <a:defRPr sz="2800"/>
            </a:lvl2pPr>
            <a:lvl3pPr marL="914027" indent="0">
              <a:buNone/>
              <a:defRPr sz="2400"/>
            </a:lvl3pPr>
            <a:lvl4pPr marL="1371041" indent="0">
              <a:buNone/>
              <a:defRPr sz="2000"/>
            </a:lvl4pPr>
            <a:lvl5pPr marL="1828055" indent="0">
              <a:buNone/>
              <a:defRPr sz="2000"/>
            </a:lvl5pPr>
            <a:lvl6pPr marL="2285067" indent="0">
              <a:buNone/>
              <a:defRPr sz="2000"/>
            </a:lvl6pPr>
            <a:lvl7pPr marL="2742082" indent="0">
              <a:buNone/>
              <a:defRPr sz="2000"/>
            </a:lvl7pPr>
            <a:lvl8pPr marL="3199095" indent="0">
              <a:buNone/>
              <a:defRPr sz="2000"/>
            </a:lvl8pPr>
            <a:lvl9pPr marL="3656109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13" indent="0">
              <a:buNone/>
              <a:defRPr sz="1200"/>
            </a:lvl2pPr>
            <a:lvl3pPr marL="914027" indent="0">
              <a:buNone/>
              <a:defRPr sz="1000"/>
            </a:lvl3pPr>
            <a:lvl4pPr marL="1371041" indent="0">
              <a:buNone/>
              <a:defRPr sz="900"/>
            </a:lvl4pPr>
            <a:lvl5pPr marL="1828055" indent="0">
              <a:buNone/>
              <a:defRPr sz="900"/>
            </a:lvl5pPr>
            <a:lvl6pPr marL="2285067" indent="0">
              <a:buNone/>
              <a:defRPr sz="900"/>
            </a:lvl6pPr>
            <a:lvl7pPr marL="2742082" indent="0">
              <a:buNone/>
              <a:defRPr sz="900"/>
            </a:lvl7pPr>
            <a:lvl8pPr marL="3199095" indent="0">
              <a:buNone/>
              <a:defRPr sz="900"/>
            </a:lvl8pPr>
            <a:lvl9pPr marL="36561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2FE9357-2489-4810-8F37-1C12EC7837D6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C97D2A8-FCE4-4F36-94F1-18BAAC0F76F0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E60B2A8-2866-42E0-9620-D1AE3BE260C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08D23-438A-4803-9F93-A97BA8AAF263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F93D8F-92AC-41E6-97BB-9D2FAD3EC7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66CB90F-8499-4653-BB99-00B99DD5854B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5932" y="304800"/>
            <a:ext cx="2035175" cy="478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5645" y="304800"/>
            <a:ext cx="5957887" cy="478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7CFBA65-215B-4C78-9CCF-1C514ED2906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481FB19-172E-47F1-AAAF-12C7423BFEF0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45" y="1520833"/>
            <a:ext cx="3894137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2176" y="1520833"/>
            <a:ext cx="3894138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F37A002-D680-437F-BCAC-7BB08F8F377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A20A2F2-2F47-4397-83A2-750BD0E4F50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00B60F0-38EB-47D7-8D2F-F3E9142784DF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1423C45-E4F7-4065-A206-2167A748308A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90C77F9-B73C-47D3-8498-A67F50AE4CD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D1FE45F-6316-4F54-882F-5825E1FE52A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55645" y="1520833"/>
            <a:ext cx="7940675" cy="3571875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793751" y="304800"/>
            <a:ext cx="7435849" cy="838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793751" y="1625147"/>
            <a:ext cx="7464878" cy="3803196"/>
          </a:xfrm>
        </p:spPr>
        <p:txBody>
          <a:bodyPr anchor="ctr" anchorCtr="1"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3750" y="6372423"/>
            <a:ext cx="7461250" cy="307777"/>
          </a:xfrm>
        </p:spPr>
        <p:txBody>
          <a:bodyPr anchor="b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32E282E-7EE4-43BA-B4D8-D9CD598C8808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864BC73-9BA3-465A-AAE3-95D46C85AC4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4983F4B-F7CD-46F0-BDD9-F8D5509A544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6048375" y="6511925"/>
            <a:ext cx="2790825" cy="125413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© 2006 Capgemini - All rights reserved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6048375" y="6632575"/>
            <a:ext cx="2790825" cy="125413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so_soa-soe_v01.20.ppt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839200" y="6553200"/>
            <a:ext cx="228600" cy="1524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fld id="{3BED88C4-17F5-4405-BB67-C16CCBA782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82352FA-607B-4F74-928B-8174573E959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9D08356-37A4-426F-A57D-B89234D12D8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AB86424-0EE2-4EA8-9A61-FEA628DA6AE3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C68C72B-31B4-4E99-AF0D-A6D18D3465A0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C6DE8D2-09AD-4CE2-8983-6287AA84836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845D750-2404-4357-8211-3F1C71BEEF2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39" y="1520827"/>
            <a:ext cx="3894137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520827"/>
            <a:ext cx="3894139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48D0C4B-3FD9-4F71-AB3A-A794BD12C3E0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D0FA965-4129-48A2-BA8C-8375DAAB6EE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895B1F5D-8840-4164-ADE6-D071033C791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ACB6E5F-3138-46BB-9F8C-CBE81B05827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7428833-46C5-498A-A0AC-C1DBA580EE60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ABF019F-977A-4972-AB95-0D3B2793BE5D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EF85508-4DFE-481B-A1C3-1BDBBD8CD453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FCF7710-C402-40CD-9ADB-4CB1FDA48FC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3684C80-2B16-4238-BC99-EBE6047B37D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C1C7F6-C824-4CDD-9807-9CCA1437C60E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583DC9-D1D7-481B-8FED-E98CE528CF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5E4A516-58BD-4978-A695-D0913110363E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33CD2D5-DF3F-4CF6-BB69-64FAF56EA0E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F1ECC5E-ACF9-425B-A344-D0404F1ACAC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8A7C096-6B33-4C56-9AE9-8D16080D6FC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562DCA8-8BC0-443F-A017-14D09832E204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40BADD1-ED08-4D1B-BD53-C57DBCA507F5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5B41C03-FE75-461C-9AEF-4C84290C9408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212C219-ADAB-495C-8372-4D8B3B622FA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52FA569-38F5-4935-9603-959E781D80E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5926" y="304801"/>
            <a:ext cx="2035175" cy="478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5641" y="304801"/>
            <a:ext cx="5957887" cy="478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A9DEFC2-0E21-45AF-B941-93F3CF45DA4C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A7DF1155-A1F3-4762-8231-F674B36BD01A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3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39" y="1520827"/>
            <a:ext cx="3894137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2176" y="1520827"/>
            <a:ext cx="3894139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1F80F1E-B7A8-43F3-84EE-B2DB7F6E394D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9758CAF-1E8F-4A9E-B573-BEB24A106DA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87CD1AA-87E9-4E76-A757-E0D90AD51F3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3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55638" y="1520827"/>
            <a:ext cx="7940675" cy="3571875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67E114A5-7782-4D89-B9BB-D5200CA9AD86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92BAE54-EB51-4E02-8A13-CBD2675E1FE5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BAF2912-6815-4872-BC22-FB7EF726E1F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12F52DC-59E5-4674-B5C2-4F9EED4D694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75"/>
          <p:cNvSpPr>
            <a:spLocks noChangeArrowheads="1"/>
          </p:cNvSpPr>
          <p:nvPr/>
        </p:nvSpPr>
        <p:spPr bwMode="auto">
          <a:xfrm rot="16200000">
            <a:off x="3200400" y="-1600200"/>
            <a:ext cx="2743200" cy="9144000"/>
          </a:xfrm>
          <a:prstGeom prst="rect">
            <a:avLst/>
          </a:prstGeom>
          <a:solidFill>
            <a:srgbClr val="015F85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73018" tIns="36508" rIns="73018" bIns="36508" anchor="ctr"/>
          <a:lstStyle/>
          <a:p>
            <a:pPr>
              <a:defRPr/>
            </a:pPr>
            <a:endParaRPr lang="en-US" sz="20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" name="Rectangle 281"/>
          <p:cNvSpPr>
            <a:spLocks noChangeArrowheads="1"/>
          </p:cNvSpPr>
          <p:nvPr/>
        </p:nvSpPr>
        <p:spPr bwMode="auto">
          <a:xfrm>
            <a:off x="8594725" y="6626225"/>
            <a:ext cx="322263" cy="236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01">
              <a:defRPr/>
            </a:pPr>
            <a:fld id="{A814104D-2DBD-4A51-AD7B-43C614724AB7}" type="slidenum">
              <a:rPr lang="en-US" sz="1000" b="1">
                <a:solidFill>
                  <a:srgbClr val="D3D3D3"/>
                </a:solidFill>
                <a:latin typeface="Arial" pitchFamily="34" charset="0"/>
              </a:rPr>
              <a:pPr algn="r" defTabSz="814301">
                <a:defRPr/>
              </a:pPr>
              <a:t>‹#›</a:t>
            </a:fld>
            <a:endParaRPr lang="en-US" sz="1000" b="1" dirty="0">
              <a:solidFill>
                <a:srgbClr val="D3D3D3"/>
              </a:solidFill>
              <a:latin typeface="Arial" pitchFamily="34" charset="0"/>
            </a:endParaRPr>
          </a:p>
        </p:txBody>
      </p:sp>
      <p:grpSp>
        <p:nvGrpSpPr>
          <p:cNvPr id="6" name="Group 283"/>
          <p:cNvGrpSpPr>
            <a:grpSpLocks/>
          </p:cNvGrpSpPr>
          <p:nvPr/>
        </p:nvGrpSpPr>
        <p:grpSpPr bwMode="auto">
          <a:xfrm>
            <a:off x="609600" y="525463"/>
            <a:ext cx="1447800" cy="769937"/>
            <a:chOff x="3272" y="1316"/>
            <a:chExt cx="1889" cy="1002"/>
          </a:xfrm>
        </p:grpSpPr>
        <p:sp>
          <p:nvSpPr>
            <p:cNvPr id="7" name="AutoShape 284"/>
            <p:cNvSpPr>
              <a:spLocks noChangeAspect="1" noChangeArrowheads="1" noTextEdit="1"/>
            </p:cNvSpPr>
            <p:nvPr/>
          </p:nvSpPr>
          <p:spPr bwMode="auto">
            <a:xfrm>
              <a:off x="3272" y="1316"/>
              <a:ext cx="1889" cy="1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" name="Rectangle 285"/>
            <p:cNvSpPr>
              <a:spLocks noChangeArrowheads="1"/>
            </p:cNvSpPr>
            <p:nvPr/>
          </p:nvSpPr>
          <p:spPr bwMode="auto">
            <a:xfrm>
              <a:off x="3802" y="1979"/>
              <a:ext cx="87" cy="326"/>
            </a:xfrm>
            <a:prstGeom prst="rect">
              <a:avLst/>
            </a:prstGeom>
            <a:solidFill>
              <a:srgbClr val="B21A1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" name="Freeform 286"/>
            <p:cNvSpPr>
              <a:spLocks/>
            </p:cNvSpPr>
            <p:nvPr/>
          </p:nvSpPr>
          <p:spPr bwMode="auto">
            <a:xfrm>
              <a:off x="4303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" name="Freeform 287"/>
            <p:cNvSpPr>
              <a:spLocks/>
            </p:cNvSpPr>
            <p:nvPr/>
          </p:nvSpPr>
          <p:spPr bwMode="auto">
            <a:xfrm>
              <a:off x="3444" y="1971"/>
              <a:ext cx="249" cy="343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" name="Freeform 288"/>
            <p:cNvSpPr>
              <a:spLocks noEditPoints="1"/>
            </p:cNvSpPr>
            <p:nvPr/>
          </p:nvSpPr>
          <p:spPr bwMode="auto">
            <a:xfrm>
              <a:off x="4643" y="1971"/>
              <a:ext cx="342" cy="343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2" name="Freeform 289"/>
            <p:cNvSpPr>
              <a:spLocks/>
            </p:cNvSpPr>
            <p:nvPr/>
          </p:nvSpPr>
          <p:spPr bwMode="auto">
            <a:xfrm>
              <a:off x="3999" y="1971"/>
              <a:ext cx="224" cy="343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B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" name="Freeform 290"/>
            <p:cNvSpPr>
              <a:spLocks/>
            </p:cNvSpPr>
            <p:nvPr/>
          </p:nvSpPr>
          <p:spPr bwMode="auto">
            <a:xfrm>
              <a:off x="3272" y="1587"/>
              <a:ext cx="81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4" name="Freeform 291"/>
            <p:cNvSpPr>
              <a:spLocks/>
            </p:cNvSpPr>
            <p:nvPr/>
          </p:nvSpPr>
          <p:spPr bwMode="auto">
            <a:xfrm>
              <a:off x="3500" y="1473"/>
              <a:ext cx="81" cy="281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5" name="Freeform 292"/>
            <p:cNvSpPr>
              <a:spLocks/>
            </p:cNvSpPr>
            <p:nvPr/>
          </p:nvSpPr>
          <p:spPr bwMode="auto">
            <a:xfrm>
              <a:off x="3721" y="1320"/>
              <a:ext cx="81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6" name="Freeform 293"/>
            <p:cNvSpPr>
              <a:spLocks/>
            </p:cNvSpPr>
            <p:nvPr/>
          </p:nvSpPr>
          <p:spPr bwMode="auto">
            <a:xfrm>
              <a:off x="3949" y="1473"/>
              <a:ext cx="81" cy="281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" name="Freeform 294"/>
            <p:cNvSpPr>
              <a:spLocks/>
            </p:cNvSpPr>
            <p:nvPr/>
          </p:nvSpPr>
          <p:spPr bwMode="auto">
            <a:xfrm>
              <a:off x="4171" y="1587"/>
              <a:ext cx="87" cy="167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8" name="Freeform 295"/>
            <p:cNvSpPr>
              <a:spLocks/>
            </p:cNvSpPr>
            <p:nvPr/>
          </p:nvSpPr>
          <p:spPr bwMode="auto">
            <a:xfrm>
              <a:off x="4399" y="1473"/>
              <a:ext cx="81" cy="281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9" name="Freeform 296"/>
            <p:cNvSpPr>
              <a:spLocks/>
            </p:cNvSpPr>
            <p:nvPr/>
          </p:nvSpPr>
          <p:spPr bwMode="auto">
            <a:xfrm>
              <a:off x="4625" y="1320"/>
              <a:ext cx="83" cy="51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0" name="Freeform 297"/>
            <p:cNvSpPr>
              <a:spLocks/>
            </p:cNvSpPr>
            <p:nvPr/>
          </p:nvSpPr>
          <p:spPr bwMode="auto">
            <a:xfrm>
              <a:off x="4848" y="1473"/>
              <a:ext cx="81" cy="281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1" name="Freeform 298"/>
            <p:cNvSpPr>
              <a:spLocks/>
            </p:cNvSpPr>
            <p:nvPr/>
          </p:nvSpPr>
          <p:spPr bwMode="auto">
            <a:xfrm>
              <a:off x="5074" y="1587"/>
              <a:ext cx="83" cy="167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15F8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2000" b="1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pic>
        <p:nvPicPr>
          <p:cNvPr id="22" name="Picture 324" descr="MAE1763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73588" y="1600200"/>
            <a:ext cx="4570412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9873" name="Rectangle 209"/>
          <p:cNvSpPr>
            <a:spLocks noGrp="1" noChangeArrowheads="1"/>
          </p:cNvSpPr>
          <p:nvPr>
            <p:ph type="ctrTitle"/>
          </p:nvPr>
        </p:nvSpPr>
        <p:spPr bwMode="white">
          <a:xfrm>
            <a:off x="650876" y="2557463"/>
            <a:ext cx="3768725" cy="830262"/>
          </a:xfrm>
          <a:ln/>
        </p:spPr>
        <p:txBody>
          <a:bodyPr anchor="ctr"/>
          <a:lstStyle>
            <a:lvl1pPr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69874" name="Rectangle 210"/>
          <p:cNvSpPr>
            <a:spLocks noGrp="1" noChangeArrowheads="1"/>
          </p:cNvSpPr>
          <p:nvPr>
            <p:ph type="subTitle" idx="1"/>
          </p:nvPr>
        </p:nvSpPr>
        <p:spPr>
          <a:xfrm>
            <a:off x="650875" y="4733926"/>
            <a:ext cx="6940551" cy="419100"/>
          </a:xfrm>
          <a:ln/>
        </p:spPr>
        <p:txBody>
          <a:bodyPr/>
          <a:lstStyle>
            <a:lvl1pPr marL="0" indent="0">
              <a:lnSpc>
                <a:spcPct val="9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22B7284C-2AF8-4916-9741-6453B8F4B23E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095500"/>
            <a:ext cx="5476875" cy="2381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047750" y="6672263"/>
            <a:ext cx="222885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eaLnBrk="0" hangingPunct="0">
              <a:defRPr/>
            </a:pPr>
            <a:r>
              <a:rPr lang="en-US" sz="700">
                <a:solidFill>
                  <a:srgbClr val="8E8E95"/>
                </a:solidFill>
              </a:rPr>
              <a:t>© 2010 Cisco and/or its affiliates. All rights reserved.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173413" y="6672263"/>
            <a:ext cx="877887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eaLnBrk="0" hangingPunct="0">
              <a:defRPr/>
            </a:pPr>
            <a:r>
              <a:rPr lang="en-US" sz="700">
                <a:solidFill>
                  <a:srgbClr val="8E8E95"/>
                </a:solidFill>
              </a:rPr>
              <a:t>Cisco Confidential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93675" y="6672263"/>
            <a:ext cx="962025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eaLnBrk="0" hangingPunct="0">
              <a:defRPr/>
            </a:pPr>
            <a:r>
              <a:rPr lang="en-US" sz="700">
                <a:solidFill>
                  <a:srgbClr val="8E8E95"/>
                </a:solidFill>
              </a:rPr>
              <a:t>Presentation_ID</a:t>
            </a:r>
          </a:p>
        </p:txBody>
      </p:sp>
      <p:pic>
        <p:nvPicPr>
          <p:cNvPr id="8" name="Picture 2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4000" y="0"/>
            <a:ext cx="3810000" cy="6856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5310188" y="4476750"/>
            <a:ext cx="3833812" cy="2381250"/>
          </a:xfrm>
          <a:prstGeom prst="rect">
            <a:avLst/>
          </a:prstGeom>
          <a:solidFill>
            <a:schemeClr val="bg1">
              <a:alpha val="3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 anchor="ctr"/>
          <a:lstStyle/>
          <a:p>
            <a:pPr algn="ctr" eaLnBrk="0" hangingPunct="0">
              <a:lnSpc>
                <a:spcPct val="90000"/>
              </a:lnSpc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5303838" y="0"/>
            <a:ext cx="3840162" cy="2095500"/>
          </a:xfrm>
          <a:prstGeom prst="rect">
            <a:avLst/>
          </a:prstGeom>
          <a:solidFill>
            <a:schemeClr val="bg1">
              <a:alpha val="3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 anchor="ctr"/>
          <a:lstStyle/>
          <a:p>
            <a:pPr algn="ctr" eaLnBrk="0" hangingPunct="0">
              <a:lnSpc>
                <a:spcPct val="90000"/>
              </a:lnSpc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11" name="Picture 28" descr="Cisco_Logo_rgb_large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8013" y="528638"/>
            <a:ext cx="1449387" cy="76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54071" name="Rectangle 23"/>
          <p:cNvSpPr>
            <a:spLocks noGrp="1" noChangeArrowheads="1"/>
          </p:cNvSpPr>
          <p:nvPr>
            <p:ph type="ctrTitle"/>
          </p:nvPr>
        </p:nvSpPr>
        <p:spPr bwMode="white">
          <a:xfrm>
            <a:off x="650875" y="2546350"/>
            <a:ext cx="4543425" cy="1479550"/>
          </a:xfrm>
          <a:ln/>
        </p:spPr>
        <p:txBody>
          <a:bodyPr anchor="ctr"/>
          <a:lstStyle>
            <a:lvl1pPr>
              <a:defRPr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54072" name="Rectangle 24"/>
          <p:cNvSpPr>
            <a:spLocks noGrp="1" noChangeArrowheads="1"/>
          </p:cNvSpPr>
          <p:nvPr>
            <p:ph type="subTitle" idx="1"/>
          </p:nvPr>
        </p:nvSpPr>
        <p:spPr>
          <a:xfrm>
            <a:off x="650875" y="4733925"/>
            <a:ext cx="4543425" cy="419100"/>
          </a:xfrm>
          <a:ln/>
        </p:spPr>
        <p:txBody>
          <a:bodyPr/>
          <a:lstStyle>
            <a:lvl1pPr marL="0" indent="0">
              <a:lnSpc>
                <a:spcPct val="90000"/>
              </a:lnSpc>
              <a:buFont typeface="Wingdings" pitchFamily="2" charset="2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87D5985-836D-4A9D-9819-7A305EC5525A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8166148-954A-4E83-B97E-C2D82328377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BFBE4D9-BF63-46A9-8585-3A720A94F23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3296F32-C083-41AF-996E-05C0B445293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9FBC309-E5CE-47A4-BFEA-3130ECA040EE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0A2D298-FB75-406D-AEF5-B786364B699F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DE114F9-D3CA-401D-8E3B-A4C61565FFB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E8BB7-5BA6-425F-BDA4-9AD52202A4E0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BCA0C-4D57-47B0-B8D6-BC9EBF37E98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3FC7C74-B047-4BAE-B087-73D13A1D517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93750" y="1520825"/>
            <a:ext cx="3763963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0113" y="1520825"/>
            <a:ext cx="3763962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462BEE0-8C60-4819-A7A1-26EA485E3D4C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169FBAE-33C0-4B8D-8E4E-C7400CE286D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6A7D684-B6F1-4BD3-AB05-A526122C1D4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5263"/>
            <a:ext cx="850392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005841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5750" indent="-28575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C957925-3200-4EFC-B2B5-21A44107EDC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81F49DC8-1C96-4CBB-B846-00B67FB25564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57DF5B5-3BDE-4EDD-90FA-764541B41328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0303EBDA-8C41-4BBC-9D52-E13D47715453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0B0C949-1DAD-4913-AD7E-07BD1BCDDE9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AEF0A07-1D1F-4100-A6B4-131463121FC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D36F431-CA80-4A5F-BAAF-20E048C00022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384E601-C45F-4B13-A58D-8C303AB3658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5834EED-8560-4C6C-834C-6BFFB54C4ECF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B1DF0AE-90EA-42B0-A2B0-FC6523EF7DCF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4DFB57F-D152-4CF0-BAF4-7F62DEB92B6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B7A4982-7674-4E88-8469-D0046E2B19B8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9D4DD65-3C79-430C-BEB8-8A5D830B70CB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14086B6-8154-4A55-BF7D-CE4D49ECEC8E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1FC5060-4D40-4BD3-8088-3A82A8FC084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75425" y="304800"/>
            <a:ext cx="1925638" cy="478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93750" y="304800"/>
            <a:ext cx="5629275" cy="478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A02943E7-C08D-49E6-B625-54B83BC70E12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A6E06513-99C1-4AD7-8753-24C8E0AE5417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3750" y="304800"/>
            <a:ext cx="7707313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93750" y="1520825"/>
            <a:ext cx="7680325" cy="3571875"/>
          </a:xfrm>
        </p:spPr>
        <p:txBody>
          <a:bodyPr/>
          <a:lstStyle/>
          <a:p>
            <a:pPr lvl="0"/>
            <a:endParaRPr lang="en-US" noProof="0"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F5008E9-CB6A-468D-8644-FDF3155878D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Lead Line &amp;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5263"/>
            <a:ext cx="8503920" cy="82296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005841"/>
            <a:ext cx="8503920" cy="138499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marL="0" indent="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None/>
              <a:defRPr lang="en-US" sz="16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85750" indent="-28575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§"/>
              <a:defRPr lang="en-US" sz="16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69913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95338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•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31875" indent="-228600" algn="l" defTabSz="914400" rtl="0" eaLnBrk="0" fontAlgn="base" latinLnBrk="0" hangingPunct="0">
              <a:spcBef>
                <a:spcPct val="0"/>
              </a:spcBef>
              <a:spcAft>
                <a:spcPts val="600"/>
              </a:spcAft>
              <a:buClr>
                <a:schemeClr val="accent2"/>
              </a:buClr>
              <a:buFont typeface="Arial" pitchFamily="34" charset="0"/>
              <a:buChar char="–"/>
              <a:defRPr lang="en-US" sz="12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3041C-6F47-4750-9C8D-F07194A706EE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5C452-5D56-45AB-BFE4-86CE3F898C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630FA4C8-61FD-4C95-B28B-398A0019C10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13" indent="0">
              <a:buNone/>
              <a:defRPr sz="1800"/>
            </a:lvl2pPr>
            <a:lvl3pPr marL="914027" indent="0">
              <a:buNone/>
              <a:defRPr sz="1600"/>
            </a:lvl3pPr>
            <a:lvl4pPr marL="1371041" indent="0">
              <a:buNone/>
              <a:defRPr sz="1400"/>
            </a:lvl4pPr>
            <a:lvl5pPr marL="1828055" indent="0">
              <a:buNone/>
              <a:defRPr sz="1400"/>
            </a:lvl5pPr>
            <a:lvl6pPr marL="2285067" indent="0">
              <a:buNone/>
              <a:defRPr sz="1400"/>
            </a:lvl6pPr>
            <a:lvl7pPr marL="2742082" indent="0">
              <a:buNone/>
              <a:defRPr sz="1400"/>
            </a:lvl7pPr>
            <a:lvl8pPr marL="3199095" indent="0">
              <a:buNone/>
              <a:defRPr sz="1400"/>
            </a:lvl8pPr>
            <a:lvl9pPr marL="365610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45" y="1520833"/>
            <a:ext cx="3894137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6" y="1520833"/>
            <a:ext cx="3894138" cy="3571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3" indent="0">
              <a:buNone/>
              <a:defRPr sz="2000" b="1"/>
            </a:lvl2pPr>
            <a:lvl3pPr marL="914027" indent="0">
              <a:buNone/>
              <a:defRPr sz="1800" b="1"/>
            </a:lvl3pPr>
            <a:lvl4pPr marL="1371041" indent="0">
              <a:buNone/>
              <a:defRPr sz="1600" b="1"/>
            </a:lvl4pPr>
            <a:lvl5pPr marL="1828055" indent="0">
              <a:buNone/>
              <a:defRPr sz="1600" b="1"/>
            </a:lvl5pPr>
            <a:lvl6pPr marL="2285067" indent="0">
              <a:buNone/>
              <a:defRPr sz="1600" b="1"/>
            </a:lvl6pPr>
            <a:lvl7pPr marL="2742082" indent="0">
              <a:buNone/>
              <a:defRPr sz="1600" b="1"/>
            </a:lvl7pPr>
            <a:lvl8pPr marL="3199095" indent="0">
              <a:buNone/>
              <a:defRPr sz="1600" b="1"/>
            </a:lvl8pPr>
            <a:lvl9pPr marL="36561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8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3" indent="0">
              <a:buNone/>
              <a:defRPr sz="2000" b="1"/>
            </a:lvl2pPr>
            <a:lvl3pPr marL="914027" indent="0">
              <a:buNone/>
              <a:defRPr sz="1800" b="1"/>
            </a:lvl3pPr>
            <a:lvl4pPr marL="1371041" indent="0">
              <a:buNone/>
              <a:defRPr sz="1600" b="1"/>
            </a:lvl4pPr>
            <a:lvl5pPr marL="1828055" indent="0">
              <a:buNone/>
              <a:defRPr sz="1600" b="1"/>
            </a:lvl5pPr>
            <a:lvl6pPr marL="2285067" indent="0">
              <a:buNone/>
              <a:defRPr sz="1600" b="1"/>
            </a:lvl6pPr>
            <a:lvl7pPr marL="2742082" indent="0">
              <a:buNone/>
              <a:defRPr sz="1600" b="1"/>
            </a:lvl7pPr>
            <a:lvl8pPr marL="3199095" indent="0">
              <a:buNone/>
              <a:defRPr sz="1600" b="1"/>
            </a:lvl8pPr>
            <a:lvl9pPr marL="365610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8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07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13" indent="0">
              <a:buNone/>
              <a:defRPr sz="1200"/>
            </a:lvl2pPr>
            <a:lvl3pPr marL="914027" indent="0">
              <a:buNone/>
              <a:defRPr sz="1000"/>
            </a:lvl3pPr>
            <a:lvl4pPr marL="1371041" indent="0">
              <a:buNone/>
              <a:defRPr sz="900"/>
            </a:lvl4pPr>
            <a:lvl5pPr marL="1828055" indent="0">
              <a:buNone/>
              <a:defRPr sz="900"/>
            </a:lvl5pPr>
            <a:lvl6pPr marL="2285067" indent="0">
              <a:buNone/>
              <a:defRPr sz="900"/>
            </a:lvl6pPr>
            <a:lvl7pPr marL="2742082" indent="0">
              <a:buNone/>
              <a:defRPr sz="900"/>
            </a:lvl7pPr>
            <a:lvl8pPr marL="3199095" indent="0">
              <a:buNone/>
              <a:defRPr sz="900"/>
            </a:lvl8pPr>
            <a:lvl9pPr marL="36561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13" indent="0">
              <a:buNone/>
              <a:defRPr sz="2800"/>
            </a:lvl2pPr>
            <a:lvl3pPr marL="914027" indent="0">
              <a:buNone/>
              <a:defRPr sz="2400"/>
            </a:lvl3pPr>
            <a:lvl4pPr marL="1371041" indent="0">
              <a:buNone/>
              <a:defRPr sz="2000"/>
            </a:lvl4pPr>
            <a:lvl5pPr marL="1828055" indent="0">
              <a:buNone/>
              <a:defRPr sz="2000"/>
            </a:lvl5pPr>
            <a:lvl6pPr marL="2285067" indent="0">
              <a:buNone/>
              <a:defRPr sz="2000"/>
            </a:lvl6pPr>
            <a:lvl7pPr marL="2742082" indent="0">
              <a:buNone/>
              <a:defRPr sz="2000"/>
            </a:lvl7pPr>
            <a:lvl8pPr marL="3199095" indent="0">
              <a:buNone/>
              <a:defRPr sz="2000"/>
            </a:lvl8pPr>
            <a:lvl9pPr marL="3656109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13" indent="0">
              <a:buNone/>
              <a:defRPr sz="1200"/>
            </a:lvl2pPr>
            <a:lvl3pPr marL="914027" indent="0">
              <a:buNone/>
              <a:defRPr sz="1000"/>
            </a:lvl3pPr>
            <a:lvl4pPr marL="1371041" indent="0">
              <a:buNone/>
              <a:defRPr sz="900"/>
            </a:lvl4pPr>
            <a:lvl5pPr marL="1828055" indent="0">
              <a:buNone/>
              <a:defRPr sz="900"/>
            </a:lvl5pPr>
            <a:lvl6pPr marL="2285067" indent="0">
              <a:buNone/>
              <a:defRPr sz="900"/>
            </a:lvl6pPr>
            <a:lvl7pPr marL="2742082" indent="0">
              <a:buNone/>
              <a:defRPr sz="900"/>
            </a:lvl7pPr>
            <a:lvl8pPr marL="3199095" indent="0">
              <a:buNone/>
              <a:defRPr sz="900"/>
            </a:lvl8pPr>
            <a:lvl9pPr marL="365610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65932" y="304800"/>
            <a:ext cx="2035175" cy="4787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5645" y="304800"/>
            <a:ext cx="5957887" cy="478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5645" y="1520833"/>
            <a:ext cx="3894137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02176" y="1520833"/>
            <a:ext cx="3894138" cy="35718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D635AA5-F5D9-4426-AF2D-61C501D816BC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55645" y="1520833"/>
            <a:ext cx="7940675" cy="3571875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793751" y="304800"/>
            <a:ext cx="7435849" cy="838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793751" y="1625147"/>
            <a:ext cx="7464878" cy="3803196"/>
          </a:xfrm>
        </p:spPr>
        <p:txBody>
          <a:bodyPr anchor="ctr" anchorCtr="1"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3750" y="6372423"/>
            <a:ext cx="7461250" cy="307777"/>
          </a:xfrm>
        </p:spPr>
        <p:txBody>
          <a:bodyPr anchor="b">
            <a:sp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400"/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4D42012-15E4-4B97-BBB9-2AB0C3E955DB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7A03868-32BF-4059-8226-0BE5BAB48AAA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9B31569-BF60-4974-A40A-DDCE369A93A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4071860-D53E-4EB5-9579-70CEF0A8A70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FA0CF7-1879-4272-AD27-47AFFFB4FF3F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F9AC71-C884-429B-AD7F-D647ECC2EC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1" descr="verticalba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9702" y="1918741"/>
            <a:ext cx="4117446" cy="3020518"/>
          </a:xfrm>
        </p:spPr>
        <p:txBody>
          <a:bodyPr anchor="ctr"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19" y="310896"/>
            <a:ext cx="3895344" cy="620877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2000" baseline="0">
                <a:solidFill>
                  <a:schemeClr val="bg2"/>
                </a:solidFill>
                <a:latin typeface="+mj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8"/>
          <p:cNvGrpSpPr/>
          <p:nvPr userDrawn="1"/>
        </p:nvGrpSpPr>
        <p:grpSpPr>
          <a:xfrm>
            <a:off x="341313" y="311150"/>
            <a:ext cx="908367" cy="480227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7" name="Freeform 1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8" name="Freeform 1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9" name="Freeform 1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+mn-lt"/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279392"/>
            <a:ext cx="4684867" cy="384175"/>
          </a:xfrm>
        </p:spPr>
        <p:txBody>
          <a:bodyPr rtlCol="0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rgbClr val="6DB344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8693" y="3282696"/>
            <a:ext cx="4712557" cy="102235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75" y="1917700"/>
            <a:ext cx="2676525" cy="2889250"/>
          </a:xfrm>
        </p:spPr>
        <p:txBody>
          <a:bodyPr rtlCol="0" anchor="ctr" anchorCtr="1">
            <a:noAutofit/>
          </a:bodyPr>
          <a:lstStyle>
            <a:lvl1pPr algn="ctr"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8"/>
          <p:cNvSpPr/>
          <p:nvPr userDrawn="1"/>
        </p:nvSpPr>
        <p:spPr>
          <a:xfrm>
            <a:off x="1824038" y="-3578225"/>
            <a:ext cx="1728787" cy="140144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ed Rectangle 9"/>
          <p:cNvSpPr/>
          <p:nvPr userDrawn="1"/>
        </p:nvSpPr>
        <p:spPr>
          <a:xfrm>
            <a:off x="0" y="-644525"/>
            <a:ext cx="1730375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10"/>
          <p:cNvSpPr/>
          <p:nvPr userDrawn="1"/>
        </p:nvSpPr>
        <p:spPr>
          <a:xfrm rot="10800000">
            <a:off x="1014413" y="-644525"/>
            <a:ext cx="1728787" cy="81470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11"/>
          <p:cNvSpPr/>
          <p:nvPr/>
        </p:nvSpPr>
        <p:spPr>
          <a:xfrm>
            <a:off x="6375400" y="171132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12"/>
          <p:cNvSpPr/>
          <p:nvPr/>
        </p:nvSpPr>
        <p:spPr>
          <a:xfrm>
            <a:off x="8105775" y="8350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13"/>
          <p:cNvSpPr/>
          <p:nvPr/>
        </p:nvSpPr>
        <p:spPr>
          <a:xfrm rot="10800000">
            <a:off x="3035300" y="-3378200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2875" y="6584950"/>
            <a:ext cx="812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806B74E8-60B8-4093-9844-50F492EBB64E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484632"/>
            <a:ext cx="8755128" cy="4372131"/>
          </a:xfrm>
        </p:spPr>
        <p:txBody>
          <a:bodyPr/>
          <a:lstStyle>
            <a:lvl1pPr marL="228600" indent="-228600">
              <a:buFont typeface="Arial" pitchFamily="34" charset="0"/>
              <a:buChar char="“"/>
              <a:defRPr sz="600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0248" y="5358903"/>
            <a:ext cx="8574685" cy="614362"/>
          </a:xfrm>
        </p:spPr>
        <p:txBody>
          <a:bodyPr rtlCol="0">
            <a:normAutofit/>
          </a:bodyPr>
          <a:lstStyle>
            <a:lvl1pPr marL="0" indent="0">
              <a:buNone/>
              <a:defRPr lang="en-US" sz="24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07762-6F77-4325-8540-DF9FDBCA1F44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3DAF08-A74F-4B85-ADA5-D3CDE5E43C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8"/>
          <p:cNvSpPr/>
          <p:nvPr/>
        </p:nvSpPr>
        <p:spPr>
          <a:xfrm>
            <a:off x="1892300" y="795338"/>
            <a:ext cx="5348288" cy="40052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22"/>
          <p:cNvSpPr/>
          <p:nvPr userDrawn="1"/>
        </p:nvSpPr>
        <p:spPr>
          <a:xfrm>
            <a:off x="1892300" y="4794250"/>
            <a:ext cx="5346700" cy="9969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795528"/>
            <a:ext cx="5329238" cy="400507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1" y="4873438"/>
            <a:ext cx="5074070" cy="838200"/>
          </a:xfrm>
        </p:spPr>
        <p:txBody>
          <a:bodyPr anchor="ctr"/>
          <a:lstStyle>
            <a:lvl1pPr>
              <a:defRPr sz="26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1"/>
          <p:cNvSpPr/>
          <p:nvPr/>
        </p:nvSpPr>
        <p:spPr>
          <a:xfrm>
            <a:off x="338138" y="311150"/>
            <a:ext cx="3273425" cy="245903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38328" y="310896"/>
            <a:ext cx="3273552" cy="2459736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3429000"/>
            <a:ext cx="7009298" cy="1421928"/>
          </a:xfr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9"/>
          <p:cNvSpPr/>
          <p:nvPr/>
        </p:nvSpPr>
        <p:spPr>
          <a:xfrm>
            <a:off x="4992688" y="858838"/>
            <a:ext cx="3630612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859536"/>
            <a:ext cx="3630168" cy="502920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Autofit/>
          </a:bodyPr>
          <a:lstStyle>
            <a:lvl1pPr algn="ctr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29703" y="728972"/>
            <a:ext cx="4349918" cy="1089529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7"/>
          <p:cNvSpPr/>
          <p:nvPr/>
        </p:nvSpPr>
        <p:spPr>
          <a:xfrm>
            <a:off x="3668713" y="311150"/>
            <a:ext cx="3268662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28"/>
          <p:cNvSpPr/>
          <p:nvPr/>
        </p:nvSpPr>
        <p:spPr>
          <a:xfrm>
            <a:off x="334963" y="311150"/>
            <a:ext cx="3259137" cy="26606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ectangle 49"/>
          <p:cNvSpPr/>
          <p:nvPr/>
        </p:nvSpPr>
        <p:spPr>
          <a:xfrm>
            <a:off x="7011988" y="311150"/>
            <a:ext cx="1806575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1"/>
          <p:cNvSpPr/>
          <p:nvPr/>
        </p:nvSpPr>
        <p:spPr>
          <a:xfrm>
            <a:off x="334963" y="3028950"/>
            <a:ext cx="2501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53"/>
          <p:cNvSpPr/>
          <p:nvPr/>
        </p:nvSpPr>
        <p:spPr>
          <a:xfrm>
            <a:off x="2911475" y="3028950"/>
            <a:ext cx="4025900" cy="345916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Rectangle 55"/>
          <p:cNvSpPr/>
          <p:nvPr/>
        </p:nvSpPr>
        <p:spPr>
          <a:xfrm>
            <a:off x="7011988" y="1684338"/>
            <a:ext cx="1806575" cy="34417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Rectangle 57"/>
          <p:cNvSpPr/>
          <p:nvPr/>
        </p:nvSpPr>
        <p:spPr>
          <a:xfrm>
            <a:off x="7011988" y="5183188"/>
            <a:ext cx="1806575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89" y="311149"/>
            <a:ext cx="326786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4" y="311149"/>
            <a:ext cx="3272751" cy="2660652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7011988" y="311149"/>
            <a:ext cx="1806573" cy="1308101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3028951"/>
            <a:ext cx="2516104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3028951"/>
            <a:ext cx="4028516" cy="3458934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7011988" y="1676400"/>
            <a:ext cx="1806573" cy="3449410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011988" y="5182960"/>
            <a:ext cx="1806573" cy="1304925"/>
          </a:xfr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>
            <a:outerShdw blurRad="114300" dist="38100" dir="5400000" algn="ctr" rotWithShape="0">
              <a:srgbClr val="000000">
                <a:alpha val="80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338138" y="311150"/>
            <a:ext cx="8477250" cy="6075363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2" descr="bottom bar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33375" y="6375400"/>
            <a:ext cx="847725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3EE97F0-4268-4C5A-B92C-D6CF95FF74D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33375" y="310896"/>
            <a:ext cx="8474869" cy="6054185"/>
          </a:xfrm>
          <a:ln>
            <a:solidFill>
              <a:srgbClr val="08252E"/>
            </a:solidFill>
          </a:ln>
        </p:spPr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 rtlCol="0" anchor="ctr" anchorCtr="1">
            <a:noAutofit/>
          </a:bodyPr>
          <a:lstStyle>
            <a:lvl1pPr algn="ctr"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ide screen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4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673957" y="777240"/>
            <a:ext cx="786384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 dpi="0" rotWithShape="1">
            <a:blip r:embed="rId3" cstate="print">
              <a:alphaModFix amt="29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5" name="Group 3"/>
          <p:cNvGrpSpPr/>
          <p:nvPr userDrawn="1"/>
        </p:nvGrpSpPr>
        <p:grpSpPr>
          <a:xfrm>
            <a:off x="341314" y="6124575"/>
            <a:ext cx="787133" cy="416134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6" name="Rectangle 3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7" name="Freeform 4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8" name="Freeform 4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4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43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44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45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46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47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48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49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50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51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52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639917" y="778669"/>
            <a:ext cx="5897880" cy="4425696"/>
          </a:xfrm>
          <a:solidFill>
            <a:schemeClr val="tx1">
              <a:lumMod val="50000"/>
            </a:schemeClr>
          </a:solidFill>
          <a:ln>
            <a:noFill/>
          </a:ln>
          <a:effectLst>
            <a:innerShdw blurRad="419100">
              <a:prstClr val="black">
                <a:alpha val="4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_gradi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7533FE77-0183-4A11-B835-C7E9133A9B10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43B4D2-FE02-44C9-890D-F985B4023F85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9E241-D117-49A0-8513-E54030AE1B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green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contractor\Desktop\Blue_Green_Gradien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9"/>
          <p:cNvSpPr>
            <a:spLocks noChangeArrowheads="1"/>
          </p:cNvSpPr>
          <p:nvPr userDrawn="1"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20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21"/>
          <p:cNvSpPr>
            <a:spLocks/>
          </p:cNvSpPr>
          <p:nvPr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22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23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24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25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26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27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28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29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30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31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32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black">
          <a:xfrm>
            <a:off x="4373563" y="5845175"/>
            <a:ext cx="41275" cy="1571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black">
          <a:xfrm>
            <a:off x="4614863" y="5840413"/>
            <a:ext cx="120650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5"/>
          <p:cNvSpPr>
            <a:spLocks/>
          </p:cNvSpPr>
          <p:nvPr/>
        </p:nvSpPr>
        <p:spPr bwMode="black">
          <a:xfrm>
            <a:off x="4200525" y="5840413"/>
            <a:ext cx="119063" cy="165100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6"/>
          <p:cNvSpPr>
            <a:spLocks noEditPoints="1"/>
          </p:cNvSpPr>
          <p:nvPr userDrawn="1"/>
        </p:nvSpPr>
        <p:spPr bwMode="black">
          <a:xfrm>
            <a:off x="4778375" y="5840413"/>
            <a:ext cx="165100" cy="165100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7"/>
          <p:cNvSpPr>
            <a:spLocks/>
          </p:cNvSpPr>
          <p:nvPr/>
        </p:nvSpPr>
        <p:spPr bwMode="black">
          <a:xfrm>
            <a:off x="4468813" y="5840413"/>
            <a:ext cx="107950" cy="165100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8"/>
          <p:cNvSpPr>
            <a:spLocks/>
          </p:cNvSpPr>
          <p:nvPr/>
        </p:nvSpPr>
        <p:spPr bwMode="black">
          <a:xfrm>
            <a:off x="4117975" y="5654675"/>
            <a:ext cx="38100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9"/>
          <p:cNvSpPr>
            <a:spLocks/>
          </p:cNvSpPr>
          <p:nvPr/>
        </p:nvSpPr>
        <p:spPr bwMode="black">
          <a:xfrm>
            <a:off x="4227513" y="5600700"/>
            <a:ext cx="38100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10"/>
          <p:cNvSpPr>
            <a:spLocks/>
          </p:cNvSpPr>
          <p:nvPr/>
        </p:nvSpPr>
        <p:spPr bwMode="black">
          <a:xfrm>
            <a:off x="4335463" y="5526088"/>
            <a:ext cx="38100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11"/>
          <p:cNvSpPr>
            <a:spLocks/>
          </p:cNvSpPr>
          <p:nvPr/>
        </p:nvSpPr>
        <p:spPr bwMode="black">
          <a:xfrm>
            <a:off x="4443413" y="5600700"/>
            <a:ext cx="39687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13"/>
          <p:cNvSpPr>
            <a:spLocks/>
          </p:cNvSpPr>
          <p:nvPr/>
        </p:nvSpPr>
        <p:spPr bwMode="black">
          <a:xfrm>
            <a:off x="4551363" y="5654675"/>
            <a:ext cx="41275" cy="8096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14"/>
          <p:cNvSpPr>
            <a:spLocks/>
          </p:cNvSpPr>
          <p:nvPr/>
        </p:nvSpPr>
        <p:spPr bwMode="black">
          <a:xfrm>
            <a:off x="46609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15"/>
          <p:cNvSpPr>
            <a:spLocks/>
          </p:cNvSpPr>
          <p:nvPr/>
        </p:nvSpPr>
        <p:spPr bwMode="black">
          <a:xfrm>
            <a:off x="4770438" y="5526088"/>
            <a:ext cx="39687" cy="24765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16"/>
          <p:cNvSpPr>
            <a:spLocks/>
          </p:cNvSpPr>
          <p:nvPr/>
        </p:nvSpPr>
        <p:spPr bwMode="black">
          <a:xfrm>
            <a:off x="4876800" y="5600700"/>
            <a:ext cx="39688" cy="13493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17"/>
          <p:cNvSpPr>
            <a:spLocks/>
          </p:cNvSpPr>
          <p:nvPr/>
        </p:nvSpPr>
        <p:spPr bwMode="black">
          <a:xfrm>
            <a:off x="4986338" y="5654675"/>
            <a:ext cx="39687" cy="8096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91391E-6 L -5.55556E-7 0.02314 " pathEditMode="relative" rAng="0" ptsTypes="AA">
                                      <p:cBhvr>
                                        <p:cTn id="33" dur="7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1.93242E-6 L 4.72222E-6 0.02962 " pathEditMode="relative" rAng="0" ptsTypes="AA">
                                      <p:cBhvr>
                                        <p:cTn id="35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91391E-6 L 0 0.02314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93242E-6 L -4.72222E-6 0.02962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91391E-6 L 4.16667E-6 0.02314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36056E-6 L 2.77778E-7 -0.02338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36056E-6 L -8.33333E-7 -0.02338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2.36056E-6 L 4.44444E-6 -0.02338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2.36056E-6 L 3.33333E-6 -0.02338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7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-red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Complex_Gradient7.jpg"/>
          <p:cNvPicPr>
            <a:picLocks noChangeAspect="1"/>
          </p:cNvPicPr>
          <p:nvPr userDrawn="1"/>
        </p:nvPicPr>
        <p:blipFill>
          <a:blip r:embed="rId2"/>
          <a:srcRect l="1695" r="14438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33"/>
          <p:cNvSpPr txBox="1"/>
          <p:nvPr userDrawn="1"/>
        </p:nvSpPr>
        <p:spPr>
          <a:xfrm>
            <a:off x="644525" y="3060700"/>
            <a:ext cx="2436813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dirty="0">
                <a:solidFill>
                  <a:srgbClr val="FFFFFF"/>
                </a:solidFill>
                <a:latin typeface="+mn-lt"/>
              </a:rPr>
              <a:t>Thank you.</a:t>
            </a:r>
          </a:p>
        </p:txBody>
      </p:sp>
      <p:sp>
        <p:nvSpPr>
          <p:cNvPr id="4" name="Rectangle 18"/>
          <p:cNvSpPr>
            <a:spLocks noChangeArrowheads="1"/>
          </p:cNvSpPr>
          <p:nvPr/>
        </p:nvSpPr>
        <p:spPr bwMode="black">
          <a:xfrm>
            <a:off x="6313488" y="3708400"/>
            <a:ext cx="115887" cy="4413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Freeform 34"/>
          <p:cNvSpPr>
            <a:spLocks/>
          </p:cNvSpPr>
          <p:nvPr/>
        </p:nvSpPr>
        <p:spPr bwMode="black">
          <a:xfrm>
            <a:off x="6992938" y="3697288"/>
            <a:ext cx="336550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Freeform 35"/>
          <p:cNvSpPr>
            <a:spLocks/>
          </p:cNvSpPr>
          <p:nvPr userDrawn="1"/>
        </p:nvSpPr>
        <p:spPr bwMode="black">
          <a:xfrm>
            <a:off x="5824538" y="3697288"/>
            <a:ext cx="338137" cy="466725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Freeform 36"/>
          <p:cNvSpPr>
            <a:spLocks noEditPoints="1"/>
          </p:cNvSpPr>
          <p:nvPr/>
        </p:nvSpPr>
        <p:spPr bwMode="black">
          <a:xfrm>
            <a:off x="7451725" y="3697288"/>
            <a:ext cx="463550" cy="466725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8" name="Freeform 37"/>
          <p:cNvSpPr>
            <a:spLocks/>
          </p:cNvSpPr>
          <p:nvPr/>
        </p:nvSpPr>
        <p:spPr bwMode="black">
          <a:xfrm>
            <a:off x="6580188" y="3697288"/>
            <a:ext cx="301625" cy="466725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9" name="Freeform 38"/>
          <p:cNvSpPr>
            <a:spLocks/>
          </p:cNvSpPr>
          <p:nvPr/>
        </p:nvSpPr>
        <p:spPr bwMode="black">
          <a:xfrm>
            <a:off x="5592763" y="3082925"/>
            <a:ext cx="109537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0" name="Freeform 39"/>
          <p:cNvSpPr>
            <a:spLocks/>
          </p:cNvSpPr>
          <p:nvPr/>
        </p:nvSpPr>
        <p:spPr bwMode="black">
          <a:xfrm>
            <a:off x="5900738" y="2930525"/>
            <a:ext cx="109537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1" name="Freeform 40"/>
          <p:cNvSpPr>
            <a:spLocks/>
          </p:cNvSpPr>
          <p:nvPr/>
        </p:nvSpPr>
        <p:spPr bwMode="black">
          <a:xfrm>
            <a:off x="620236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2" name="Freeform 41"/>
          <p:cNvSpPr>
            <a:spLocks/>
          </p:cNvSpPr>
          <p:nvPr/>
        </p:nvSpPr>
        <p:spPr bwMode="black">
          <a:xfrm>
            <a:off x="65103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3" name="Freeform 42"/>
          <p:cNvSpPr>
            <a:spLocks/>
          </p:cNvSpPr>
          <p:nvPr/>
        </p:nvSpPr>
        <p:spPr bwMode="black">
          <a:xfrm>
            <a:off x="6811963" y="3082925"/>
            <a:ext cx="115887" cy="227013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4" name="Freeform 43"/>
          <p:cNvSpPr>
            <a:spLocks/>
          </p:cNvSpPr>
          <p:nvPr/>
        </p:nvSpPr>
        <p:spPr bwMode="black">
          <a:xfrm>
            <a:off x="71199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5" name="Freeform 44"/>
          <p:cNvSpPr>
            <a:spLocks/>
          </p:cNvSpPr>
          <p:nvPr/>
        </p:nvSpPr>
        <p:spPr bwMode="black">
          <a:xfrm>
            <a:off x="7427913" y="2720975"/>
            <a:ext cx="111125" cy="69850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6" name="Freeform 45"/>
          <p:cNvSpPr>
            <a:spLocks/>
          </p:cNvSpPr>
          <p:nvPr/>
        </p:nvSpPr>
        <p:spPr bwMode="black">
          <a:xfrm>
            <a:off x="7729538" y="2930525"/>
            <a:ext cx="111125" cy="37941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17" name="Freeform 46"/>
          <p:cNvSpPr>
            <a:spLocks/>
          </p:cNvSpPr>
          <p:nvPr/>
        </p:nvSpPr>
        <p:spPr bwMode="black">
          <a:xfrm>
            <a:off x="8037513" y="3082925"/>
            <a:ext cx="111125" cy="227013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625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2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8"/>
          <p:cNvSpPr/>
          <p:nvPr userDrawn="1"/>
        </p:nvSpPr>
        <p:spPr>
          <a:xfrm>
            <a:off x="3405188" y="5948363"/>
            <a:ext cx="598487" cy="11461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39"/>
          <p:cNvSpPr/>
          <p:nvPr userDrawn="1"/>
        </p:nvSpPr>
        <p:spPr>
          <a:xfrm>
            <a:off x="1460500" y="5948363"/>
            <a:ext cx="473075" cy="1146175"/>
          </a:xfrm>
          <a:prstGeom prst="rect">
            <a:avLst/>
          </a:prstGeom>
          <a:solidFill>
            <a:srgbClr val="6DB344">
              <a:alpha val="4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41"/>
          <p:cNvSpPr/>
          <p:nvPr userDrawn="1"/>
        </p:nvSpPr>
        <p:spPr>
          <a:xfrm>
            <a:off x="4772025" y="5948363"/>
            <a:ext cx="473075" cy="1146175"/>
          </a:xfrm>
          <a:prstGeom prst="rect">
            <a:avLst/>
          </a:prstGeom>
          <a:solidFill>
            <a:srgbClr val="0096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ounded Rectangle 42"/>
          <p:cNvSpPr/>
          <p:nvPr userDrawn="1"/>
        </p:nvSpPr>
        <p:spPr>
          <a:xfrm rot="10800000" flipH="1">
            <a:off x="2855913" y="831850"/>
            <a:ext cx="657225" cy="42418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ounded Rectangle 44"/>
          <p:cNvSpPr/>
          <p:nvPr userDrawn="1"/>
        </p:nvSpPr>
        <p:spPr>
          <a:xfrm rot="10800000" flipH="1">
            <a:off x="822325" y="4716463"/>
            <a:ext cx="655638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ounded Rectangle 45"/>
          <p:cNvSpPr/>
          <p:nvPr userDrawn="1"/>
        </p:nvSpPr>
        <p:spPr>
          <a:xfrm rot="10800000" flipH="1">
            <a:off x="13319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Rounded Rectangle 46"/>
          <p:cNvSpPr/>
          <p:nvPr userDrawn="1"/>
        </p:nvSpPr>
        <p:spPr>
          <a:xfrm rot="10800000" flipH="1">
            <a:off x="5870575" y="6613525"/>
            <a:ext cx="779463" cy="3319463"/>
          </a:xfrm>
          <a:prstGeom prst="roundRect">
            <a:avLst>
              <a:gd name="adj" fmla="val 50000"/>
            </a:avLst>
          </a:prstGeom>
          <a:solidFill>
            <a:srgbClr val="1F8BAE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ounded Rectangle 47"/>
          <p:cNvSpPr/>
          <p:nvPr userDrawn="1"/>
        </p:nvSpPr>
        <p:spPr>
          <a:xfrm rot="10800000" flipH="1">
            <a:off x="6932613" y="6613525"/>
            <a:ext cx="657225" cy="150812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Rounded Rectangle 48"/>
          <p:cNvSpPr/>
          <p:nvPr userDrawn="1"/>
        </p:nvSpPr>
        <p:spPr>
          <a:xfrm rot="10800000" flipH="1">
            <a:off x="2190750" y="6719888"/>
            <a:ext cx="663575" cy="633095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ounded Rectangle 49"/>
          <p:cNvSpPr/>
          <p:nvPr userDrawn="1"/>
        </p:nvSpPr>
        <p:spPr>
          <a:xfrm rot="10800000" flipH="1">
            <a:off x="2794000" y="6669088"/>
            <a:ext cx="779463" cy="55451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Rounded Rectangle 50"/>
          <p:cNvSpPr/>
          <p:nvPr userDrawn="1"/>
        </p:nvSpPr>
        <p:spPr>
          <a:xfrm rot="10800000" flipH="1">
            <a:off x="4921250" y="1025525"/>
            <a:ext cx="655638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ounded Rectangle 51"/>
          <p:cNvSpPr/>
          <p:nvPr userDrawn="1"/>
        </p:nvSpPr>
        <p:spPr>
          <a:xfrm rot="10800000" flipH="1">
            <a:off x="5391150" y="1731963"/>
            <a:ext cx="657225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Rounded Rectangle 52"/>
          <p:cNvSpPr/>
          <p:nvPr userDrawn="1"/>
        </p:nvSpPr>
        <p:spPr>
          <a:xfrm rot="10800000" flipH="1">
            <a:off x="341313" y="6708752"/>
            <a:ext cx="780312" cy="331954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4DCAFF">
                  <a:shade val="30000"/>
                  <a:satMod val="115000"/>
                  <a:alpha val="26000"/>
                </a:srgbClr>
              </a:gs>
              <a:gs pos="50000">
                <a:srgbClr val="4DCAFF">
                  <a:shade val="67500"/>
                  <a:satMod val="115000"/>
                </a:srgbClr>
              </a:gs>
              <a:gs pos="100000">
                <a:srgbClr val="4DCAFF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ounded Rectangle 53"/>
          <p:cNvSpPr/>
          <p:nvPr userDrawn="1"/>
        </p:nvSpPr>
        <p:spPr>
          <a:xfrm rot="10800000" flipH="1">
            <a:off x="8037513" y="8318500"/>
            <a:ext cx="781050" cy="3319463"/>
          </a:xfrm>
          <a:prstGeom prst="roundRect">
            <a:avLst>
              <a:gd name="adj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ounded Rectangle 54"/>
          <p:cNvSpPr/>
          <p:nvPr userDrawn="1"/>
        </p:nvSpPr>
        <p:spPr>
          <a:xfrm rot="10800000" flipH="1">
            <a:off x="8162925" y="1731963"/>
            <a:ext cx="655638" cy="42433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1" name="Rounded Rectangle 55"/>
          <p:cNvSpPr/>
          <p:nvPr userDrawn="1"/>
        </p:nvSpPr>
        <p:spPr>
          <a:xfrm rot="10800000" flipH="1">
            <a:off x="3770313" y="1981200"/>
            <a:ext cx="657225" cy="424338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23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24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2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3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4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5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6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7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38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40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42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C90A1B3-0C66-4A67-8AB4-624D788E1F3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-4.44444E-6 4.81481E-6 L -4.44444E-6 0.65879 " pathEditMode="relative" rAng="0" ptsTypes="AA">
                                      <p:cBhvr>
                                        <p:cTn id="6" dur="8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8" dur="10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fill="hold" grpId="0" nodeType="withEffect">
                                  <p:stCondLst>
                                    <p:cond delay="11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0" dur="164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fill="hold" grpId="0" nodeType="withEffect">
                                  <p:stCondLst>
                                    <p:cond delay="13700"/>
                                  </p:stCondLst>
                                  <p:childTnLst>
                                    <p:animMotion origin="layout" path="M 2.77778E-6 4.81481E-6 L 2.77778E-6 -0.34561 " pathEditMode="relative" rAng="0" ptsTypes="AA">
                                      <p:cBhvr>
                                        <p:cTn id="12" dur="109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3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4.44444E-6 L -3.88889E-6 1.14467 " pathEditMode="relative" rAng="0" ptsTypes="AA">
                                      <p:cBhvr>
                                        <p:cTn id="14" dur="10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7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4.16667E-6 0.27476 L 4.16667E-6 -1.26019 " pathEditMode="relative" rAng="0" ptsTypes="AA">
                                      <p:cBhvr>
                                        <p:cTn id="16" dur="12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6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18" dur="84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0" dur="19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accel="50000" decel="50000" fill="hold" grpId="0" nodeType="withEffect">
                                  <p:stCondLst>
                                    <p:cond delay="6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2" dur="8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accel="50000" decel="50000" fill="hold" nodeType="withEffect">
                                  <p:stCondLst>
                                    <p:cond delay="57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4.72222E-6 -2.15822E-6 L -4.72222E-6 -1.32223 " pathEditMode="relative" rAng="0" ptsTypes="AA">
                                      <p:cBhvr>
                                        <p:cTn id="24" dur="1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accel="50000" decel="50000" fill="hold" grpId="0" nodeType="withEffect">
                                  <p:stCondLst>
                                    <p:cond delay="13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94444E-6 0 L 1.94444E-6 -1.0081 " pathEditMode="relative" rAng="0" ptsTypes="AA">
                                      <p:cBhvr>
                                        <p:cTn id="26" dur="7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0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accel="50000" decel="50000" fill="hold" grpId="0" nodeType="withEffect">
                                  <p:stCondLst>
                                    <p:cond delay="53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28" dur="151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1.85185E-6 L 2.77778E-6 0.99305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9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3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4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6650" autoRev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7" presetClass="emph" presetSubtype="0" repeatCount="indefinite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7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38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39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0" dur="5350" autoRev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7" presetClass="emph" presetSubtype="0" repeatCount="indefinite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animClr clrSpc="rgb" dir="cw">
                                      <p:cBhvr>
                                        <p:cTn id="43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0CCCC"/>
                                      </p:to>
                                    </p:animClr>
                                    <p:set>
                                      <p:cBhvr>
                                        <p:cTn id="44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6650" autoRev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1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6"/>
          <p:cNvSpPr/>
          <p:nvPr userDrawn="1"/>
        </p:nvSpPr>
        <p:spPr>
          <a:xfrm>
            <a:off x="0" y="0"/>
            <a:ext cx="9129713" cy="6378575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7" name="Group 67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8" name="Rectangle 59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9" name="Freeform 60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0" name="Freeform 61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1" name="Freeform 62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2" name="Freeform 77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3" name="Freeform 78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4" name="Freeform 79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5" name="Freeform 80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6" name="Freeform 81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7" name="Freeform 82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83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84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85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86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2" name="Rectangle 87"/>
          <p:cNvSpPr/>
          <p:nvPr userDrawn="1"/>
        </p:nvSpPr>
        <p:spPr>
          <a:xfrm>
            <a:off x="0" y="6542088"/>
            <a:ext cx="9129713" cy="31591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1955800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2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2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53D7B49D-4DFA-49A6-A8D2-5464AC1870C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-animated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contractor\Desktop\Blue_Green_Gradient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2700" y="0"/>
            <a:ext cx="915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ounded Rectangle 58"/>
          <p:cNvSpPr/>
          <p:nvPr userDrawn="1"/>
        </p:nvSpPr>
        <p:spPr>
          <a:xfrm>
            <a:off x="1824038" y="-3570288"/>
            <a:ext cx="1728787" cy="14014451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ounded Rectangle 63"/>
          <p:cNvSpPr/>
          <p:nvPr userDrawn="1"/>
        </p:nvSpPr>
        <p:spPr>
          <a:xfrm>
            <a:off x="0" y="-638175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  <a:alpha val="18000"/>
                </a:scheme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ounded Rectangle 64"/>
          <p:cNvSpPr/>
          <p:nvPr userDrawn="1"/>
        </p:nvSpPr>
        <p:spPr>
          <a:xfrm rot="10800000">
            <a:off x="1014413" y="4248150"/>
            <a:ext cx="1728787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ounded Rectangle 65"/>
          <p:cNvSpPr/>
          <p:nvPr userDrawn="1"/>
        </p:nvSpPr>
        <p:spPr>
          <a:xfrm>
            <a:off x="6584950" y="-2913063"/>
            <a:ext cx="1730375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ounded Rectangle 66"/>
          <p:cNvSpPr/>
          <p:nvPr userDrawn="1"/>
        </p:nvSpPr>
        <p:spPr>
          <a:xfrm>
            <a:off x="8105775" y="5699125"/>
            <a:ext cx="1728788" cy="8148638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chemeClr val="accent4">
                  <a:lumMod val="75000"/>
                  <a:alpha val="28000"/>
                </a:schemeClr>
              </a:gs>
              <a:gs pos="100000">
                <a:schemeClr val="accent4">
                  <a:lumMod val="75000"/>
                  <a:alpha val="29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Rounded Rectangle 67"/>
          <p:cNvSpPr/>
          <p:nvPr userDrawn="1"/>
        </p:nvSpPr>
        <p:spPr>
          <a:xfrm rot="10800000">
            <a:off x="3035300" y="1516063"/>
            <a:ext cx="1730375" cy="814863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57550">
                  <a:alpha val="46000"/>
                </a:srgbClr>
              </a:gs>
              <a:gs pos="100000">
                <a:schemeClr val="accent1">
                  <a:shade val="100000"/>
                  <a:satMod val="115000"/>
                  <a:alpha val="2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878C87B0-DE6B-445A-AC29-886AA85FB1B6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6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7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8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repeatCount="indefinite" accel="50000" decel="50000" autoRev="1" fill="remove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2.77778E-6 -2.22045E-16 L -2.77778E-6 -1.425 " pathEditMode="fixed" rAng="0" ptsTypes="AA">
                                      <p:cBhvr>
                                        <p:cTn id="6" dur="4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96296E-6 L 3.05556E-6 0.88611 " pathEditMode="fixed" rAng="0" ptsTypes="AA">
                                      <p:cBhvr>
                                        <p:cTn id="8" dur="4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4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4" presetClass="path" presetSubtype="0" repeatCount="indefinite" accel="50000" decel="50000" autoRev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animMotion origin="layout" path="M -2.5E-6 3.7037E-6 L -2.5E-6 -1.33195 " pathEditMode="fixed" rAng="0" ptsTypes="AA">
                                      <p:cBhvr>
                                        <p:cTn id="10" dur="4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repeatCount="indefinite" accel="50000" decel="50000" autoRev="1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animMotion origin="layout" path="M -1.94444E-6 4.07407E-6 L -1.94444E-6 -1.42084 " pathEditMode="fixed" rAng="0" ptsTypes="AA">
                                      <p:cBhvr>
                                        <p:cTn id="12" dur="4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1.94444E-6 4.07407E-6 L 1.94444E-6 0.81944 " pathEditMode="fixed" rAng="0" ptsTypes="AA">
                                      <p:cBhvr>
                                        <p:cTn id="14" dur="4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animMotion origin="layout" path="M -3.61111E-6 2.59259E-6 L -3.61111E-6 1.19028 " pathEditMode="fixed" rAng="0" ptsTypes="AA">
                                      <p:cBhvr>
                                        <p:cTn id="16" dur="4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9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0"/>
          <p:cNvGrpSpPr>
            <a:grpSpLocks/>
          </p:cNvGrpSpPr>
          <p:nvPr userDrawn="1"/>
        </p:nvGrpSpPr>
        <p:grpSpPr bwMode="auto">
          <a:xfrm>
            <a:off x="-12700" y="-2055813"/>
            <a:ext cx="9847263" cy="19378613"/>
            <a:chOff x="-12700" y="-2056029"/>
            <a:chExt cx="9847891" cy="19379146"/>
          </a:xfrm>
        </p:grpSpPr>
        <p:pic>
          <p:nvPicPr>
            <p:cNvPr id="7" name="Picture 2" descr="C:\Documents and Settings\contractor\Desktop\Blue_Green_Gradient.pn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12700" y="0"/>
              <a:ext cx="91567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ounded Rectangle 32"/>
            <p:cNvSpPr/>
            <p:nvPr userDrawn="1"/>
          </p:nvSpPr>
          <p:spPr>
            <a:xfrm>
              <a:off x="1824155" y="3308282"/>
              <a:ext cx="1728897" cy="14014835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33"/>
            <p:cNvSpPr/>
            <p:nvPr userDrawn="1"/>
          </p:nvSpPr>
          <p:spPr>
            <a:xfrm>
              <a:off x="1" y="1236538"/>
              <a:ext cx="1730485" cy="8148861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  <a:alpha val="18000"/>
                  </a:scheme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34"/>
            <p:cNvSpPr/>
            <p:nvPr userDrawn="1"/>
          </p:nvSpPr>
          <p:spPr>
            <a:xfrm rot="10800000">
              <a:off x="1014479" y="4248107"/>
              <a:ext cx="1728897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35"/>
            <p:cNvSpPr/>
            <p:nvPr userDrawn="1"/>
          </p:nvSpPr>
          <p:spPr>
            <a:xfrm>
              <a:off x="6585371" y="-2056029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36"/>
            <p:cNvSpPr/>
            <p:nvPr userDrawn="1"/>
          </p:nvSpPr>
          <p:spPr>
            <a:xfrm>
              <a:off x="8104706" y="2784392"/>
              <a:ext cx="1730485" cy="8147274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4">
                    <a:lumMod val="75000"/>
                    <a:alpha val="28000"/>
                  </a:schemeClr>
                </a:gs>
                <a:gs pos="100000">
                  <a:schemeClr val="accent4">
                    <a:lumMod val="75000"/>
                    <a:alpha val="29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Rounded Rectangle 37"/>
            <p:cNvSpPr/>
            <p:nvPr userDrawn="1"/>
          </p:nvSpPr>
          <p:spPr>
            <a:xfrm rot="10800000">
              <a:off x="3035494" y="174470"/>
              <a:ext cx="1730485" cy="8148862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057550">
                    <a:alpha val="46000"/>
                  </a:srgbClr>
                </a:gs>
                <a:gs pos="100000">
                  <a:schemeClr val="accent1">
                    <a:shade val="100000"/>
                    <a:satMod val="115000"/>
                    <a:alpha val="2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4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Cisco Confidential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A1A8C4F6-F1B0-486B-8A83-2FFA36F7B71B}" type="slidenum">
              <a:rPr lang="en-US" sz="600">
                <a:solidFill>
                  <a:srgbClr val="FFFFFF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17" name="Group 38"/>
          <p:cNvGrpSpPr/>
          <p:nvPr userDrawn="1"/>
        </p:nvGrpSpPr>
        <p:grpSpPr>
          <a:xfrm>
            <a:off x="341314" y="311151"/>
            <a:ext cx="829170" cy="438358"/>
            <a:chOff x="609600" y="528537"/>
            <a:chExt cx="1444734" cy="763789"/>
          </a:xfrm>
          <a:solidFill>
            <a:schemeClr val="bg1"/>
          </a:solidFill>
        </p:grpSpPr>
        <p:sp>
          <p:nvSpPr>
            <p:cNvPr id="18" name="Rectangle 72"/>
            <p:cNvSpPr>
              <a:spLocks noChangeArrowheads="1"/>
            </p:cNvSpPr>
            <p:nvPr/>
          </p:nvSpPr>
          <p:spPr bwMode="black">
            <a:xfrm>
              <a:off x="1016578" y="1035681"/>
              <a:ext cx="65914" cy="24973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19" name="Freeform 73"/>
            <p:cNvSpPr>
              <a:spLocks/>
            </p:cNvSpPr>
            <p:nvPr/>
          </p:nvSpPr>
          <p:spPr bwMode="black">
            <a:xfrm>
              <a:off x="1400563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0" name="Freeform 74"/>
            <p:cNvSpPr>
              <a:spLocks/>
            </p:cNvSpPr>
            <p:nvPr/>
          </p:nvSpPr>
          <p:spPr bwMode="black">
            <a:xfrm>
              <a:off x="740661" y="1028765"/>
              <a:ext cx="190843" cy="263561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1" name="Freeform 75"/>
            <p:cNvSpPr>
              <a:spLocks noEditPoints="1"/>
            </p:cNvSpPr>
            <p:nvPr/>
          </p:nvSpPr>
          <p:spPr bwMode="black">
            <a:xfrm>
              <a:off x="1660385" y="1028765"/>
              <a:ext cx="262122" cy="263561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2" name="Freeform 76"/>
            <p:cNvSpPr>
              <a:spLocks/>
            </p:cNvSpPr>
            <p:nvPr/>
          </p:nvSpPr>
          <p:spPr bwMode="black">
            <a:xfrm>
              <a:off x="1167566" y="1028765"/>
              <a:ext cx="170916" cy="263561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3" name="Freeform 91"/>
            <p:cNvSpPr>
              <a:spLocks/>
            </p:cNvSpPr>
            <p:nvPr/>
          </p:nvSpPr>
          <p:spPr bwMode="black">
            <a:xfrm>
              <a:off x="609600" y="732931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4" name="Freeform 92"/>
            <p:cNvSpPr>
              <a:spLocks/>
            </p:cNvSpPr>
            <p:nvPr/>
          </p:nvSpPr>
          <p:spPr bwMode="black">
            <a:xfrm>
              <a:off x="783581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5" name="Freeform 93"/>
            <p:cNvSpPr>
              <a:spLocks/>
            </p:cNvSpPr>
            <p:nvPr/>
          </p:nvSpPr>
          <p:spPr bwMode="black">
            <a:xfrm>
              <a:off x="954497" y="528537"/>
              <a:ext cx="62081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6" name="Freeform 94"/>
            <p:cNvSpPr>
              <a:spLocks/>
            </p:cNvSpPr>
            <p:nvPr/>
          </p:nvSpPr>
          <p:spPr bwMode="black">
            <a:xfrm>
              <a:off x="1128478" y="646870"/>
              <a:ext cx="62081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7" name="Freeform 95"/>
            <p:cNvSpPr>
              <a:spLocks/>
            </p:cNvSpPr>
            <p:nvPr/>
          </p:nvSpPr>
          <p:spPr bwMode="black">
            <a:xfrm>
              <a:off x="1298627" y="732931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8" name="Freeform 96"/>
            <p:cNvSpPr>
              <a:spLocks/>
            </p:cNvSpPr>
            <p:nvPr/>
          </p:nvSpPr>
          <p:spPr bwMode="black">
            <a:xfrm>
              <a:off x="1472608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29" name="Freeform 97"/>
            <p:cNvSpPr>
              <a:spLocks/>
            </p:cNvSpPr>
            <p:nvPr/>
          </p:nvSpPr>
          <p:spPr bwMode="black">
            <a:xfrm>
              <a:off x="1646590" y="528537"/>
              <a:ext cx="62848" cy="394958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0" name="Freeform 98"/>
            <p:cNvSpPr>
              <a:spLocks/>
            </p:cNvSpPr>
            <p:nvPr/>
          </p:nvSpPr>
          <p:spPr bwMode="black">
            <a:xfrm>
              <a:off x="1817505" y="646870"/>
              <a:ext cx="62848" cy="214384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  <p:sp>
          <p:nvSpPr>
            <p:cNvPr id="31" name="Freeform 99"/>
            <p:cNvSpPr>
              <a:spLocks/>
            </p:cNvSpPr>
            <p:nvPr/>
          </p:nvSpPr>
          <p:spPr bwMode="black">
            <a:xfrm>
              <a:off x="1991486" y="732931"/>
              <a:ext cx="62848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236689"/>
            <a:ext cx="8112125" cy="2918779"/>
          </a:xfrm>
        </p:spPr>
        <p:txBody>
          <a:bodyPr/>
          <a:lstStyle>
            <a:lvl1pPr>
              <a:lnSpc>
                <a:spcPct val="90000"/>
              </a:lnSpc>
              <a:defRPr lang="en-US" sz="5400" b="0" kern="1200" spc="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6383" y="4464068"/>
            <a:ext cx="8112126" cy="384175"/>
          </a:xfrm>
        </p:spPr>
        <p:txBody>
          <a:bodyPr anchor="b">
            <a:noAutofit/>
          </a:bodyPr>
          <a:lstStyle>
            <a:lvl1pPr marL="0" indent="0" algn="l">
              <a:buNone/>
              <a:defRPr lang="en-US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0"/>
          </p:nvPr>
        </p:nvSpPr>
        <p:spPr>
          <a:xfrm>
            <a:off x="236383" y="4768852"/>
            <a:ext cx="8097838" cy="384175"/>
          </a:xfrm>
        </p:spPr>
        <p:txBody>
          <a:bodyPr/>
          <a:lstStyle>
            <a:lvl1pPr marL="0" indent="0">
              <a:buFontTx/>
              <a:buNone/>
              <a:defRPr lang="en-US" sz="18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4" name="Text Placeholder 43"/>
          <p:cNvSpPr>
            <a:spLocks noGrp="1"/>
          </p:cNvSpPr>
          <p:nvPr>
            <p:ph type="body" sz="quarter" idx="11"/>
          </p:nvPr>
        </p:nvSpPr>
        <p:spPr>
          <a:xfrm>
            <a:off x="236538" y="5232770"/>
            <a:ext cx="8112125" cy="384175"/>
          </a:xfrm>
        </p:spPr>
        <p:txBody>
          <a:bodyPr/>
          <a:lstStyle>
            <a:lvl1pPr marL="0" indent="0">
              <a:buFontTx/>
              <a:buNone/>
              <a:defRPr lang="en-US" sz="14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33575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399143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4.81481E-6 L -1.94444E-6 -0.48102 " pathEditMode="relative" rAng="0" ptsTypes="AA">
                                      <p:cBhvr>
                                        <p:cTn id="6" dur="16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Documents and Settings\contractor\Desktop\Pattern_Half_Page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3375" y="3101975"/>
            <a:ext cx="8477250" cy="343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>
          <a:xfrm>
            <a:off x="217488" y="3021013"/>
            <a:ext cx="8694737" cy="1757362"/>
          </a:xfrm>
          <a:prstGeom prst="rect">
            <a:avLst/>
          </a:prstGeom>
          <a:solidFill>
            <a:srgbClr val="082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A4BF1A77-8B4A-4190-AFAE-6E87E10FE457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393" y="1967967"/>
            <a:ext cx="8112125" cy="2407042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19DF6-86F8-4421-82C7-0B6BD2C56130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C90FE4-BB35-474D-9344-DF4FA473A0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44168"/>
            <a:ext cx="8578850" cy="4965192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0"/>
          </p:nvPr>
        </p:nvSpPr>
        <p:spPr>
          <a:xfrm>
            <a:off x="239713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06781" y="1339745"/>
            <a:ext cx="4122425" cy="4965700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18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 sz="1400">
                <a:solidFill>
                  <a:schemeClr val="bg1"/>
                </a:solidFill>
                <a:latin typeface="+mj-lt"/>
              </a:defRPr>
            </a:lvl2pPr>
            <a:lvl3pPr>
              <a:defRPr sz="1200">
                <a:solidFill>
                  <a:schemeClr val="bg1"/>
                </a:solidFill>
                <a:latin typeface="+mj-lt"/>
              </a:defRPr>
            </a:lvl3pPr>
            <a:lvl4pPr>
              <a:defRPr sz="1100">
                <a:solidFill>
                  <a:schemeClr val="bg1"/>
                </a:solidFill>
                <a:latin typeface="+mj-lt"/>
              </a:defRPr>
            </a:lvl4pPr>
            <a:lvl5pPr>
              <a:defRPr sz="11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50825" y="6586538"/>
            <a:ext cx="256857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895C2A8-2440-4F6C-AB48-C2A5DDE0F51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713" y="1339745"/>
            <a:ext cx="4103687" cy="4965700"/>
          </a:xfrm>
        </p:spPr>
        <p:txBody>
          <a:bodyPr/>
          <a:lstStyle>
            <a:lvl1pPr>
              <a:lnSpc>
                <a:spcPct val="95000"/>
              </a:lnSpc>
              <a:spcBef>
                <a:spcPts val="1480"/>
              </a:spcBef>
              <a:defRPr sz="2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chemeClr val="bg1"/>
                </a:solidFill>
                <a:latin typeface="+mj-lt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221224" y="1747683"/>
            <a:ext cx="3236976" cy="646331"/>
          </a:xfrm>
        </p:spPr>
        <p:txBody>
          <a:bodyPr>
            <a:noAutofit/>
          </a:bodyPr>
          <a:lstStyle>
            <a:lvl1pPr marL="114300" indent="-11430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  <a:lvl2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40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5334000" y="4876800"/>
            <a:ext cx="3200400" cy="457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2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295275"/>
            <a:ext cx="4123944" cy="838200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19455" y="1600200"/>
            <a:ext cx="4142232" cy="452628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tabLst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818888" y="1600200"/>
            <a:ext cx="4005072" cy="452628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+mj-lt"/>
              </a:defRPr>
            </a:lvl1pPr>
            <a:lvl2pPr marL="635000" indent="-228600">
              <a:buClr>
                <a:srgbClr val="96CA4B"/>
              </a:buClr>
              <a:buFont typeface="Arial" pitchFamily="34" charset="0"/>
              <a:buChar char="•"/>
              <a:defRPr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824413" y="295275"/>
            <a:ext cx="4122737" cy="838200"/>
          </a:xfrm>
        </p:spPr>
        <p:txBody>
          <a:bodyPr lIns="82296" rIns="82296"/>
          <a:lstStyle>
            <a:lvl1pPr marL="0" indent="0">
              <a:lnSpc>
                <a:spcPct val="80000"/>
              </a:lnSpc>
              <a:spcBef>
                <a:spcPts val="0"/>
              </a:spcBef>
              <a:buFontTx/>
              <a:buNone/>
              <a:defRPr lang="en-US" sz="36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44475" y="1600200"/>
            <a:ext cx="2622550" cy="43910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292474" y="1600200"/>
            <a:ext cx="2593975" cy="436245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300788" y="1600200"/>
            <a:ext cx="2633662" cy="433387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20"/>
          <p:cNvSpPr>
            <a:spLocks noGrp="1" noChangeAspect="1"/>
          </p:cNvSpPr>
          <p:nvPr>
            <p:ph type="body" sz="quarter" idx="17"/>
          </p:nvPr>
        </p:nvSpPr>
        <p:spPr>
          <a:xfrm>
            <a:off x="219456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dirty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3255264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0"/>
          <p:cNvSpPr>
            <a:spLocks noGrp="1" noChangeAspect="1"/>
          </p:cNvSpPr>
          <p:nvPr>
            <p:ph type="body" sz="quarter" idx="19"/>
          </p:nvPr>
        </p:nvSpPr>
        <p:spPr>
          <a:xfrm>
            <a:off x="6273302" y="100584"/>
            <a:ext cx="2670048" cy="1152144"/>
          </a:xfr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kern="1200" spc="0" baseline="0" smtClean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6972" y="439710"/>
            <a:ext cx="8567244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6" name="Chart Placeholder 35"/>
          <p:cNvSpPr>
            <a:spLocks noGrp="1"/>
          </p:cNvSpPr>
          <p:nvPr>
            <p:ph type="chart" sz="quarter" idx="10"/>
          </p:nvPr>
        </p:nvSpPr>
        <p:spPr>
          <a:xfrm>
            <a:off x="359764" y="1476375"/>
            <a:ext cx="8439461" cy="4305300"/>
          </a:xfrm>
        </p:spPr>
        <p:txBody>
          <a:bodyPr rtlCol="0" anchor="ctr" anchorCtr="1">
            <a:noAutofit/>
          </a:bodyPr>
          <a:lstStyle>
            <a:lvl1pPr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49466" y="6062114"/>
            <a:ext cx="7461250" cy="276999"/>
          </a:xfrm>
        </p:spPr>
        <p:txBody>
          <a:bodyPr anchor="b">
            <a:noAutofit/>
          </a:bodyPr>
          <a:lstStyle>
            <a:lvl1pPr algn="l" defTabSz="804863">
              <a:lnSpc>
                <a:spcPct val="100000"/>
              </a:lnSpc>
              <a:spcBef>
                <a:spcPct val="50000"/>
              </a:spcBef>
              <a:buNone/>
              <a:defRPr sz="1200">
                <a:solidFill>
                  <a:schemeClr val="bg2">
                    <a:lumMod val="85000"/>
                  </a:schemeClr>
                </a:solidFill>
                <a:latin typeface="+mj-lt"/>
              </a:defRPr>
            </a:lvl1pPr>
            <a:lvl2pPr>
              <a:buFont typeface="Arial" pitchFamily="34" charset="0"/>
              <a:buNone/>
              <a:defRPr sz="1400"/>
            </a:lvl2pPr>
            <a:lvl3pPr>
              <a:buFont typeface="Arial" pitchFamily="34" charset="0"/>
              <a:buNone/>
              <a:defRPr sz="1400"/>
            </a:lvl3pPr>
            <a:lvl4pPr>
              <a:buFont typeface="Arial" pitchFamily="34" charset="0"/>
              <a:buNone/>
              <a:defRPr sz="1400"/>
            </a:lvl4pPr>
            <a:lvl5pPr>
              <a:buFont typeface="Arial" pitchFamily="34" charset="0"/>
              <a:buNone/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6888" y="1600200"/>
            <a:ext cx="4005072" cy="3749040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FontTx/>
              <a:buNone/>
              <a:defRPr lang="en-US" sz="2400" b="0" kern="1200" spc="0" baseline="0" dirty="0" smtClean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73752" y="1947672"/>
            <a:ext cx="3429000" cy="2990088"/>
          </a:xfrm>
        </p:spPr>
        <p:txBody>
          <a:bodyPr rtlCol="0" anchor="ctr" anchorCtr="1">
            <a:noAutofit/>
          </a:bodyPr>
          <a:lstStyle>
            <a:lvl1pPr algn="ctr"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</p:cSld>
  <p:clrMapOvr>
    <a:masterClrMapping/>
  </p:clrMapOvr>
  <p:transition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5430244"/>
            <a:ext cx="8558698" cy="838200"/>
          </a:xfr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white">
          <a:xfrm>
            <a:off x="0" y="0"/>
            <a:ext cx="9144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hidden">
          <a:xfrm>
            <a:off x="0" y="0"/>
            <a:ext cx="9144000" cy="177800"/>
          </a:xfrm>
          <a:prstGeom prst="rect">
            <a:avLst/>
          </a:prstGeom>
          <a:solidFill>
            <a:srgbClr val="08252E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96D6"/>
              </a:solidFill>
              <a:latin typeface="+mn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5201" y="5842635"/>
            <a:ext cx="8112126" cy="3841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649224"/>
            <a:ext cx="8112125" cy="448056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Arial" pitchFamily="34" charset="0"/>
              <a:buNone/>
              <a:defRPr lang="en-US" sz="5400" b="0" kern="1200" spc="0" baseline="0" dirty="0">
                <a:gradFill>
                  <a:gsLst>
                    <a:gs pos="0">
                      <a:srgbClr val="00B2F0"/>
                    </a:gs>
                    <a:gs pos="44000">
                      <a:srgbClr val="40FFFE"/>
                    </a:gs>
                    <a:gs pos="100000">
                      <a:srgbClr val="96CA4B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" Type="http://schemas.openxmlformats.org/officeDocument/2006/relationships/slideLayout" Target="../slideLayouts/slideLayout189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206.xml"/><Relationship Id="rId29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31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slideLayout" Target="../slideLayouts/slideLayout246.xml"/><Relationship Id="rId3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41.xml"/><Relationship Id="rId34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29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theme" Target="../theme/theme13.xml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31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slideLayout" Target="../slideLayouts/slideLayout25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3.xml"/><Relationship Id="rId13" Type="http://schemas.openxmlformats.org/officeDocument/2006/relationships/slideLayout" Target="../slideLayouts/slideLayout268.xml"/><Relationship Id="rId18" Type="http://schemas.openxmlformats.org/officeDocument/2006/relationships/slideLayout" Target="../slideLayouts/slideLayout273.xml"/><Relationship Id="rId26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258.xml"/><Relationship Id="rId21" Type="http://schemas.openxmlformats.org/officeDocument/2006/relationships/slideLayout" Target="../slideLayouts/slideLayout276.xml"/><Relationship Id="rId34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62.xml"/><Relationship Id="rId12" Type="http://schemas.openxmlformats.org/officeDocument/2006/relationships/slideLayout" Target="../slideLayouts/slideLayout267.xml"/><Relationship Id="rId17" Type="http://schemas.openxmlformats.org/officeDocument/2006/relationships/slideLayout" Target="../slideLayouts/slideLayout272.xml"/><Relationship Id="rId25" Type="http://schemas.openxmlformats.org/officeDocument/2006/relationships/slideLayout" Target="../slideLayouts/slideLayout280.xml"/><Relationship Id="rId33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57.xml"/><Relationship Id="rId16" Type="http://schemas.openxmlformats.org/officeDocument/2006/relationships/slideLayout" Target="../slideLayouts/slideLayout271.xml"/><Relationship Id="rId20" Type="http://schemas.openxmlformats.org/officeDocument/2006/relationships/slideLayout" Target="../slideLayouts/slideLayout275.xml"/><Relationship Id="rId29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11" Type="http://schemas.openxmlformats.org/officeDocument/2006/relationships/slideLayout" Target="../slideLayouts/slideLayout266.xml"/><Relationship Id="rId24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60.xml"/><Relationship Id="rId15" Type="http://schemas.openxmlformats.org/officeDocument/2006/relationships/slideLayout" Target="../slideLayouts/slideLayout270.xml"/><Relationship Id="rId23" Type="http://schemas.openxmlformats.org/officeDocument/2006/relationships/slideLayout" Target="../slideLayouts/slideLayout278.xml"/><Relationship Id="rId28" Type="http://schemas.openxmlformats.org/officeDocument/2006/relationships/slideLayout" Target="../slideLayouts/slideLayout283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265.xml"/><Relationship Id="rId19" Type="http://schemas.openxmlformats.org/officeDocument/2006/relationships/slideLayout" Target="../slideLayouts/slideLayout274.xml"/><Relationship Id="rId31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59.xml"/><Relationship Id="rId9" Type="http://schemas.openxmlformats.org/officeDocument/2006/relationships/slideLayout" Target="../slideLayouts/slideLayout264.xml"/><Relationship Id="rId14" Type="http://schemas.openxmlformats.org/officeDocument/2006/relationships/slideLayout" Target="../slideLayouts/slideLayout269.xml"/><Relationship Id="rId22" Type="http://schemas.openxmlformats.org/officeDocument/2006/relationships/slideLayout" Target="../slideLayouts/slideLayout277.xml"/><Relationship Id="rId27" Type="http://schemas.openxmlformats.org/officeDocument/2006/relationships/slideLayout" Target="../slideLayouts/slideLayout282.xml"/><Relationship Id="rId30" Type="http://schemas.openxmlformats.org/officeDocument/2006/relationships/slideLayout" Target="../slideLayouts/slideLayout285.xml"/><Relationship Id="rId35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slideLayout" Target="../slideLayouts/slideLayout302.xml"/><Relationship Id="rId18" Type="http://schemas.openxmlformats.org/officeDocument/2006/relationships/slideLayout" Target="../slideLayouts/slideLayout307.xml"/><Relationship Id="rId26" Type="http://schemas.openxmlformats.org/officeDocument/2006/relationships/slideLayout" Target="../slideLayouts/slideLayout315.xml"/><Relationship Id="rId3" Type="http://schemas.openxmlformats.org/officeDocument/2006/relationships/slideLayout" Target="../slideLayouts/slideLayout292.xml"/><Relationship Id="rId21" Type="http://schemas.openxmlformats.org/officeDocument/2006/relationships/slideLayout" Target="../slideLayouts/slideLayout310.xml"/><Relationship Id="rId34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1.xml"/><Relationship Id="rId17" Type="http://schemas.openxmlformats.org/officeDocument/2006/relationships/slideLayout" Target="../slideLayouts/slideLayout306.xml"/><Relationship Id="rId25" Type="http://schemas.openxmlformats.org/officeDocument/2006/relationships/slideLayout" Target="../slideLayouts/slideLayout314.xml"/><Relationship Id="rId33" Type="http://schemas.openxmlformats.org/officeDocument/2006/relationships/slideLayout" Target="../slideLayouts/slideLayout322.xml"/><Relationship Id="rId2" Type="http://schemas.openxmlformats.org/officeDocument/2006/relationships/slideLayout" Target="../slideLayouts/slideLayout291.xml"/><Relationship Id="rId16" Type="http://schemas.openxmlformats.org/officeDocument/2006/relationships/slideLayout" Target="../slideLayouts/slideLayout305.xml"/><Relationship Id="rId20" Type="http://schemas.openxmlformats.org/officeDocument/2006/relationships/slideLayout" Target="../slideLayouts/slideLayout309.xml"/><Relationship Id="rId29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24" Type="http://schemas.openxmlformats.org/officeDocument/2006/relationships/slideLayout" Target="../slideLayouts/slideLayout313.xml"/><Relationship Id="rId32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294.xml"/><Relationship Id="rId15" Type="http://schemas.openxmlformats.org/officeDocument/2006/relationships/slideLayout" Target="../slideLayouts/slideLayout304.xml"/><Relationship Id="rId23" Type="http://schemas.openxmlformats.org/officeDocument/2006/relationships/slideLayout" Target="../slideLayouts/slideLayout312.xml"/><Relationship Id="rId28" Type="http://schemas.openxmlformats.org/officeDocument/2006/relationships/slideLayout" Target="../slideLayouts/slideLayout317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0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slideLayout" Target="../slideLayouts/slideLayout303.xml"/><Relationship Id="rId22" Type="http://schemas.openxmlformats.org/officeDocument/2006/relationships/slideLayout" Target="../slideLayouts/slideLayout311.xml"/><Relationship Id="rId27" Type="http://schemas.openxmlformats.org/officeDocument/2006/relationships/slideLayout" Target="../slideLayouts/slideLayout316.xml"/><Relationship Id="rId30" Type="http://schemas.openxmlformats.org/officeDocument/2006/relationships/slideLayout" Target="../slideLayouts/slideLayout319.xml"/><Relationship Id="rId35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slideLayout" Target="../slideLayouts/slideLayout336.xml"/><Relationship Id="rId18" Type="http://schemas.openxmlformats.org/officeDocument/2006/relationships/slideLayout" Target="../slideLayouts/slideLayout341.xml"/><Relationship Id="rId26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26.xml"/><Relationship Id="rId21" Type="http://schemas.openxmlformats.org/officeDocument/2006/relationships/slideLayout" Target="../slideLayouts/slideLayout344.xml"/><Relationship Id="rId34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5.xml"/><Relationship Id="rId17" Type="http://schemas.openxmlformats.org/officeDocument/2006/relationships/slideLayout" Target="../slideLayouts/slideLayout340.xml"/><Relationship Id="rId25" Type="http://schemas.openxmlformats.org/officeDocument/2006/relationships/slideLayout" Target="../slideLayouts/slideLayout348.xml"/><Relationship Id="rId33" Type="http://schemas.openxmlformats.org/officeDocument/2006/relationships/slideLayout" Target="../slideLayouts/slideLayout356.xml"/><Relationship Id="rId2" Type="http://schemas.openxmlformats.org/officeDocument/2006/relationships/slideLayout" Target="../slideLayouts/slideLayout325.xml"/><Relationship Id="rId16" Type="http://schemas.openxmlformats.org/officeDocument/2006/relationships/slideLayout" Target="../slideLayouts/slideLayout339.xml"/><Relationship Id="rId20" Type="http://schemas.openxmlformats.org/officeDocument/2006/relationships/slideLayout" Target="../slideLayouts/slideLayout343.xml"/><Relationship Id="rId29" Type="http://schemas.openxmlformats.org/officeDocument/2006/relationships/slideLayout" Target="../slideLayouts/slideLayout352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24" Type="http://schemas.openxmlformats.org/officeDocument/2006/relationships/slideLayout" Target="../slideLayouts/slideLayout347.xml"/><Relationship Id="rId32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28.xml"/><Relationship Id="rId15" Type="http://schemas.openxmlformats.org/officeDocument/2006/relationships/slideLayout" Target="../slideLayouts/slideLayout338.xml"/><Relationship Id="rId23" Type="http://schemas.openxmlformats.org/officeDocument/2006/relationships/slideLayout" Target="../slideLayouts/slideLayout346.xml"/><Relationship Id="rId28" Type="http://schemas.openxmlformats.org/officeDocument/2006/relationships/slideLayout" Target="../slideLayouts/slideLayout351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333.xml"/><Relationship Id="rId19" Type="http://schemas.openxmlformats.org/officeDocument/2006/relationships/slideLayout" Target="../slideLayouts/slideLayout342.xml"/><Relationship Id="rId31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4" Type="http://schemas.openxmlformats.org/officeDocument/2006/relationships/slideLayout" Target="../slideLayouts/slideLayout337.xml"/><Relationship Id="rId22" Type="http://schemas.openxmlformats.org/officeDocument/2006/relationships/slideLayout" Target="../slideLayouts/slideLayout345.xml"/><Relationship Id="rId27" Type="http://schemas.openxmlformats.org/officeDocument/2006/relationships/slideLayout" Target="../slideLayouts/slideLayout350.xml"/><Relationship Id="rId30" Type="http://schemas.openxmlformats.org/officeDocument/2006/relationships/slideLayout" Target="../slideLayouts/slideLayout353.xml"/><Relationship Id="rId35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5.xml"/><Relationship Id="rId13" Type="http://schemas.openxmlformats.org/officeDocument/2006/relationships/slideLayout" Target="../slideLayouts/slideLayout370.xml"/><Relationship Id="rId18" Type="http://schemas.openxmlformats.org/officeDocument/2006/relationships/slideLayout" Target="../slideLayouts/slideLayout375.xml"/><Relationship Id="rId26" Type="http://schemas.openxmlformats.org/officeDocument/2006/relationships/slideLayout" Target="../slideLayouts/slideLayout383.xml"/><Relationship Id="rId3" Type="http://schemas.openxmlformats.org/officeDocument/2006/relationships/slideLayout" Target="../slideLayouts/slideLayout360.xml"/><Relationship Id="rId21" Type="http://schemas.openxmlformats.org/officeDocument/2006/relationships/slideLayout" Target="../slideLayouts/slideLayout378.xml"/><Relationship Id="rId34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64.xml"/><Relationship Id="rId12" Type="http://schemas.openxmlformats.org/officeDocument/2006/relationships/slideLayout" Target="../slideLayouts/slideLayout369.xml"/><Relationship Id="rId17" Type="http://schemas.openxmlformats.org/officeDocument/2006/relationships/slideLayout" Target="../slideLayouts/slideLayout374.xml"/><Relationship Id="rId25" Type="http://schemas.openxmlformats.org/officeDocument/2006/relationships/slideLayout" Target="../slideLayouts/slideLayout382.xml"/><Relationship Id="rId33" Type="http://schemas.openxmlformats.org/officeDocument/2006/relationships/slideLayout" Target="../slideLayouts/slideLayout390.xml"/><Relationship Id="rId2" Type="http://schemas.openxmlformats.org/officeDocument/2006/relationships/slideLayout" Target="../slideLayouts/slideLayout359.xml"/><Relationship Id="rId16" Type="http://schemas.openxmlformats.org/officeDocument/2006/relationships/slideLayout" Target="../slideLayouts/slideLayout373.xml"/><Relationship Id="rId20" Type="http://schemas.openxmlformats.org/officeDocument/2006/relationships/slideLayout" Target="../slideLayouts/slideLayout377.xml"/><Relationship Id="rId29" Type="http://schemas.openxmlformats.org/officeDocument/2006/relationships/slideLayout" Target="../slideLayouts/slideLayout386.xml"/><Relationship Id="rId1" Type="http://schemas.openxmlformats.org/officeDocument/2006/relationships/slideLayout" Target="../slideLayouts/slideLayout358.xml"/><Relationship Id="rId6" Type="http://schemas.openxmlformats.org/officeDocument/2006/relationships/slideLayout" Target="../slideLayouts/slideLayout363.xml"/><Relationship Id="rId11" Type="http://schemas.openxmlformats.org/officeDocument/2006/relationships/slideLayout" Target="../slideLayouts/slideLayout368.xml"/><Relationship Id="rId24" Type="http://schemas.openxmlformats.org/officeDocument/2006/relationships/slideLayout" Target="../slideLayouts/slideLayout381.xml"/><Relationship Id="rId32" Type="http://schemas.openxmlformats.org/officeDocument/2006/relationships/slideLayout" Target="../slideLayouts/slideLayout389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362.xml"/><Relationship Id="rId15" Type="http://schemas.openxmlformats.org/officeDocument/2006/relationships/slideLayout" Target="../slideLayouts/slideLayout372.xml"/><Relationship Id="rId23" Type="http://schemas.openxmlformats.org/officeDocument/2006/relationships/slideLayout" Target="../slideLayouts/slideLayout380.xml"/><Relationship Id="rId28" Type="http://schemas.openxmlformats.org/officeDocument/2006/relationships/slideLayout" Target="../slideLayouts/slideLayout385.xml"/><Relationship Id="rId36" Type="http://schemas.openxmlformats.org/officeDocument/2006/relationships/theme" Target="../theme/theme17.xml"/><Relationship Id="rId10" Type="http://schemas.openxmlformats.org/officeDocument/2006/relationships/slideLayout" Target="../slideLayouts/slideLayout367.xml"/><Relationship Id="rId19" Type="http://schemas.openxmlformats.org/officeDocument/2006/relationships/slideLayout" Target="../slideLayouts/slideLayout376.xml"/><Relationship Id="rId31" Type="http://schemas.openxmlformats.org/officeDocument/2006/relationships/slideLayout" Target="../slideLayouts/slideLayout388.xml"/><Relationship Id="rId4" Type="http://schemas.openxmlformats.org/officeDocument/2006/relationships/slideLayout" Target="../slideLayouts/slideLayout361.xml"/><Relationship Id="rId9" Type="http://schemas.openxmlformats.org/officeDocument/2006/relationships/slideLayout" Target="../slideLayouts/slideLayout366.xml"/><Relationship Id="rId14" Type="http://schemas.openxmlformats.org/officeDocument/2006/relationships/slideLayout" Target="../slideLayouts/slideLayout371.xml"/><Relationship Id="rId22" Type="http://schemas.openxmlformats.org/officeDocument/2006/relationships/slideLayout" Target="../slideLayouts/slideLayout379.xml"/><Relationship Id="rId27" Type="http://schemas.openxmlformats.org/officeDocument/2006/relationships/slideLayout" Target="../slideLayouts/slideLayout384.xml"/><Relationship Id="rId30" Type="http://schemas.openxmlformats.org/officeDocument/2006/relationships/slideLayout" Target="../slideLayouts/slideLayout387.xml"/><Relationship Id="rId35" Type="http://schemas.openxmlformats.org/officeDocument/2006/relationships/slideLayout" Target="../slideLayouts/slideLayout39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slideLayout" Target="../slideLayouts/slideLayout405.xml"/><Relationship Id="rId18" Type="http://schemas.openxmlformats.org/officeDocument/2006/relationships/slideLayout" Target="../slideLayouts/slideLayout410.xml"/><Relationship Id="rId26" Type="http://schemas.openxmlformats.org/officeDocument/2006/relationships/slideLayout" Target="../slideLayouts/slideLayout418.xml"/><Relationship Id="rId3" Type="http://schemas.openxmlformats.org/officeDocument/2006/relationships/slideLayout" Target="../slideLayouts/slideLayout395.xml"/><Relationship Id="rId21" Type="http://schemas.openxmlformats.org/officeDocument/2006/relationships/slideLayout" Target="../slideLayouts/slideLayout413.xml"/><Relationship Id="rId34" Type="http://schemas.openxmlformats.org/officeDocument/2006/relationships/slideLayout" Target="../slideLayouts/slideLayout426.xml"/><Relationship Id="rId7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4.xml"/><Relationship Id="rId17" Type="http://schemas.openxmlformats.org/officeDocument/2006/relationships/slideLayout" Target="../slideLayouts/slideLayout409.xml"/><Relationship Id="rId25" Type="http://schemas.openxmlformats.org/officeDocument/2006/relationships/slideLayout" Target="../slideLayouts/slideLayout417.xml"/><Relationship Id="rId33" Type="http://schemas.openxmlformats.org/officeDocument/2006/relationships/slideLayout" Target="../slideLayouts/slideLayout425.xml"/><Relationship Id="rId2" Type="http://schemas.openxmlformats.org/officeDocument/2006/relationships/slideLayout" Target="../slideLayouts/slideLayout394.xml"/><Relationship Id="rId16" Type="http://schemas.openxmlformats.org/officeDocument/2006/relationships/slideLayout" Target="../slideLayouts/slideLayout408.xml"/><Relationship Id="rId20" Type="http://schemas.openxmlformats.org/officeDocument/2006/relationships/slideLayout" Target="../slideLayouts/slideLayout412.xml"/><Relationship Id="rId29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slideLayout" Target="../slideLayouts/slideLayout403.xml"/><Relationship Id="rId24" Type="http://schemas.openxmlformats.org/officeDocument/2006/relationships/slideLayout" Target="../slideLayouts/slideLayout416.xml"/><Relationship Id="rId32" Type="http://schemas.openxmlformats.org/officeDocument/2006/relationships/slideLayout" Target="../slideLayouts/slideLayout424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397.xml"/><Relationship Id="rId15" Type="http://schemas.openxmlformats.org/officeDocument/2006/relationships/slideLayout" Target="../slideLayouts/slideLayout407.xml"/><Relationship Id="rId23" Type="http://schemas.openxmlformats.org/officeDocument/2006/relationships/slideLayout" Target="../slideLayouts/slideLayout415.xml"/><Relationship Id="rId28" Type="http://schemas.openxmlformats.org/officeDocument/2006/relationships/slideLayout" Target="../slideLayouts/slideLayout420.xml"/><Relationship Id="rId36" Type="http://schemas.openxmlformats.org/officeDocument/2006/relationships/theme" Target="../theme/theme18.xml"/><Relationship Id="rId10" Type="http://schemas.openxmlformats.org/officeDocument/2006/relationships/slideLayout" Target="../slideLayouts/slideLayout402.xml"/><Relationship Id="rId19" Type="http://schemas.openxmlformats.org/officeDocument/2006/relationships/slideLayout" Target="../slideLayouts/slideLayout411.xml"/><Relationship Id="rId31" Type="http://schemas.openxmlformats.org/officeDocument/2006/relationships/slideLayout" Target="../slideLayouts/slideLayout423.xml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slideLayout" Target="../slideLayouts/slideLayout406.xml"/><Relationship Id="rId22" Type="http://schemas.openxmlformats.org/officeDocument/2006/relationships/slideLayout" Target="../slideLayouts/slideLayout414.xml"/><Relationship Id="rId27" Type="http://schemas.openxmlformats.org/officeDocument/2006/relationships/slideLayout" Target="../slideLayouts/slideLayout419.xml"/><Relationship Id="rId30" Type="http://schemas.openxmlformats.org/officeDocument/2006/relationships/slideLayout" Target="../slideLayouts/slideLayout422.xml"/><Relationship Id="rId35" Type="http://schemas.openxmlformats.org/officeDocument/2006/relationships/slideLayout" Target="../slideLayouts/slideLayout42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5.xml"/><Relationship Id="rId13" Type="http://schemas.openxmlformats.org/officeDocument/2006/relationships/slideLayout" Target="../slideLayouts/slideLayout440.xml"/><Relationship Id="rId18" Type="http://schemas.openxmlformats.org/officeDocument/2006/relationships/slideLayout" Target="../slideLayouts/slideLayout445.xml"/><Relationship Id="rId26" Type="http://schemas.openxmlformats.org/officeDocument/2006/relationships/slideLayout" Target="../slideLayouts/slideLayout453.xml"/><Relationship Id="rId3" Type="http://schemas.openxmlformats.org/officeDocument/2006/relationships/slideLayout" Target="../slideLayouts/slideLayout430.xml"/><Relationship Id="rId21" Type="http://schemas.openxmlformats.org/officeDocument/2006/relationships/slideLayout" Target="../slideLayouts/slideLayout448.xml"/><Relationship Id="rId34" Type="http://schemas.openxmlformats.org/officeDocument/2006/relationships/slideLayout" Target="../slideLayouts/slideLayout461.xml"/><Relationship Id="rId7" Type="http://schemas.openxmlformats.org/officeDocument/2006/relationships/slideLayout" Target="../slideLayouts/slideLayout434.xml"/><Relationship Id="rId12" Type="http://schemas.openxmlformats.org/officeDocument/2006/relationships/slideLayout" Target="../slideLayouts/slideLayout439.xml"/><Relationship Id="rId17" Type="http://schemas.openxmlformats.org/officeDocument/2006/relationships/slideLayout" Target="../slideLayouts/slideLayout444.xml"/><Relationship Id="rId25" Type="http://schemas.openxmlformats.org/officeDocument/2006/relationships/slideLayout" Target="../slideLayouts/slideLayout452.xml"/><Relationship Id="rId33" Type="http://schemas.openxmlformats.org/officeDocument/2006/relationships/slideLayout" Target="../slideLayouts/slideLayout460.xml"/><Relationship Id="rId2" Type="http://schemas.openxmlformats.org/officeDocument/2006/relationships/slideLayout" Target="../slideLayouts/slideLayout429.xml"/><Relationship Id="rId16" Type="http://schemas.openxmlformats.org/officeDocument/2006/relationships/slideLayout" Target="../slideLayouts/slideLayout443.xml"/><Relationship Id="rId20" Type="http://schemas.openxmlformats.org/officeDocument/2006/relationships/slideLayout" Target="../slideLayouts/slideLayout447.xml"/><Relationship Id="rId29" Type="http://schemas.openxmlformats.org/officeDocument/2006/relationships/slideLayout" Target="../slideLayouts/slideLayout456.xml"/><Relationship Id="rId1" Type="http://schemas.openxmlformats.org/officeDocument/2006/relationships/slideLayout" Target="../slideLayouts/slideLayout428.xml"/><Relationship Id="rId6" Type="http://schemas.openxmlformats.org/officeDocument/2006/relationships/slideLayout" Target="../slideLayouts/slideLayout433.xml"/><Relationship Id="rId11" Type="http://schemas.openxmlformats.org/officeDocument/2006/relationships/slideLayout" Target="../slideLayouts/slideLayout438.xml"/><Relationship Id="rId24" Type="http://schemas.openxmlformats.org/officeDocument/2006/relationships/slideLayout" Target="../slideLayouts/slideLayout451.xml"/><Relationship Id="rId32" Type="http://schemas.openxmlformats.org/officeDocument/2006/relationships/slideLayout" Target="../slideLayouts/slideLayout459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432.xml"/><Relationship Id="rId15" Type="http://schemas.openxmlformats.org/officeDocument/2006/relationships/slideLayout" Target="../slideLayouts/slideLayout442.xml"/><Relationship Id="rId23" Type="http://schemas.openxmlformats.org/officeDocument/2006/relationships/slideLayout" Target="../slideLayouts/slideLayout450.xml"/><Relationship Id="rId28" Type="http://schemas.openxmlformats.org/officeDocument/2006/relationships/slideLayout" Target="../slideLayouts/slideLayout455.xml"/><Relationship Id="rId36" Type="http://schemas.openxmlformats.org/officeDocument/2006/relationships/theme" Target="../theme/theme19.xml"/><Relationship Id="rId10" Type="http://schemas.openxmlformats.org/officeDocument/2006/relationships/slideLayout" Target="../slideLayouts/slideLayout437.xml"/><Relationship Id="rId19" Type="http://schemas.openxmlformats.org/officeDocument/2006/relationships/slideLayout" Target="../slideLayouts/slideLayout446.xml"/><Relationship Id="rId31" Type="http://schemas.openxmlformats.org/officeDocument/2006/relationships/slideLayout" Target="../slideLayouts/slideLayout458.xml"/><Relationship Id="rId4" Type="http://schemas.openxmlformats.org/officeDocument/2006/relationships/slideLayout" Target="../slideLayouts/slideLayout431.xml"/><Relationship Id="rId9" Type="http://schemas.openxmlformats.org/officeDocument/2006/relationships/slideLayout" Target="../slideLayouts/slideLayout436.xml"/><Relationship Id="rId14" Type="http://schemas.openxmlformats.org/officeDocument/2006/relationships/slideLayout" Target="../slideLayouts/slideLayout441.xml"/><Relationship Id="rId22" Type="http://schemas.openxmlformats.org/officeDocument/2006/relationships/slideLayout" Target="../slideLayouts/slideLayout449.xml"/><Relationship Id="rId27" Type="http://schemas.openxmlformats.org/officeDocument/2006/relationships/slideLayout" Target="../slideLayouts/slideLayout454.xml"/><Relationship Id="rId30" Type="http://schemas.openxmlformats.org/officeDocument/2006/relationships/slideLayout" Target="../slideLayouts/slideLayout457.xml"/><Relationship Id="rId35" Type="http://schemas.openxmlformats.org/officeDocument/2006/relationships/slideLayout" Target="../slideLayouts/slideLayout46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0.xml"/><Relationship Id="rId13" Type="http://schemas.openxmlformats.org/officeDocument/2006/relationships/slideLayout" Target="../slideLayouts/slideLayout475.xml"/><Relationship Id="rId18" Type="http://schemas.openxmlformats.org/officeDocument/2006/relationships/slideLayout" Target="../slideLayouts/slideLayout480.xml"/><Relationship Id="rId26" Type="http://schemas.openxmlformats.org/officeDocument/2006/relationships/slideLayout" Target="../slideLayouts/slideLayout488.xml"/><Relationship Id="rId3" Type="http://schemas.openxmlformats.org/officeDocument/2006/relationships/slideLayout" Target="../slideLayouts/slideLayout465.xml"/><Relationship Id="rId21" Type="http://schemas.openxmlformats.org/officeDocument/2006/relationships/slideLayout" Target="../slideLayouts/slideLayout483.xml"/><Relationship Id="rId34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469.xml"/><Relationship Id="rId12" Type="http://schemas.openxmlformats.org/officeDocument/2006/relationships/slideLayout" Target="../slideLayouts/slideLayout474.xml"/><Relationship Id="rId17" Type="http://schemas.openxmlformats.org/officeDocument/2006/relationships/slideLayout" Target="../slideLayouts/slideLayout479.xml"/><Relationship Id="rId25" Type="http://schemas.openxmlformats.org/officeDocument/2006/relationships/slideLayout" Target="../slideLayouts/slideLayout487.xml"/><Relationship Id="rId33" Type="http://schemas.openxmlformats.org/officeDocument/2006/relationships/slideLayout" Target="../slideLayouts/slideLayout495.xml"/><Relationship Id="rId38" Type="http://schemas.openxmlformats.org/officeDocument/2006/relationships/image" Target="../media/image6.jpeg"/><Relationship Id="rId2" Type="http://schemas.openxmlformats.org/officeDocument/2006/relationships/slideLayout" Target="../slideLayouts/slideLayout464.xml"/><Relationship Id="rId16" Type="http://schemas.openxmlformats.org/officeDocument/2006/relationships/slideLayout" Target="../slideLayouts/slideLayout478.xml"/><Relationship Id="rId20" Type="http://schemas.openxmlformats.org/officeDocument/2006/relationships/slideLayout" Target="../slideLayouts/slideLayout482.xml"/><Relationship Id="rId29" Type="http://schemas.openxmlformats.org/officeDocument/2006/relationships/slideLayout" Target="../slideLayouts/slideLayout491.xml"/><Relationship Id="rId1" Type="http://schemas.openxmlformats.org/officeDocument/2006/relationships/slideLayout" Target="../slideLayouts/slideLayout463.xml"/><Relationship Id="rId6" Type="http://schemas.openxmlformats.org/officeDocument/2006/relationships/slideLayout" Target="../slideLayouts/slideLayout468.xml"/><Relationship Id="rId11" Type="http://schemas.openxmlformats.org/officeDocument/2006/relationships/slideLayout" Target="../slideLayouts/slideLayout473.xml"/><Relationship Id="rId24" Type="http://schemas.openxmlformats.org/officeDocument/2006/relationships/slideLayout" Target="../slideLayouts/slideLayout486.xml"/><Relationship Id="rId32" Type="http://schemas.openxmlformats.org/officeDocument/2006/relationships/slideLayout" Target="../slideLayouts/slideLayout494.xml"/><Relationship Id="rId37" Type="http://schemas.openxmlformats.org/officeDocument/2006/relationships/theme" Target="../theme/theme20.xml"/><Relationship Id="rId5" Type="http://schemas.openxmlformats.org/officeDocument/2006/relationships/slideLayout" Target="../slideLayouts/slideLayout467.xml"/><Relationship Id="rId15" Type="http://schemas.openxmlformats.org/officeDocument/2006/relationships/slideLayout" Target="../slideLayouts/slideLayout477.xml"/><Relationship Id="rId23" Type="http://schemas.openxmlformats.org/officeDocument/2006/relationships/slideLayout" Target="../slideLayouts/slideLayout485.xml"/><Relationship Id="rId28" Type="http://schemas.openxmlformats.org/officeDocument/2006/relationships/slideLayout" Target="../slideLayouts/slideLayout490.xml"/><Relationship Id="rId36" Type="http://schemas.openxmlformats.org/officeDocument/2006/relationships/slideLayout" Target="../slideLayouts/slideLayout498.xml"/><Relationship Id="rId10" Type="http://schemas.openxmlformats.org/officeDocument/2006/relationships/slideLayout" Target="../slideLayouts/slideLayout472.xml"/><Relationship Id="rId19" Type="http://schemas.openxmlformats.org/officeDocument/2006/relationships/slideLayout" Target="../slideLayouts/slideLayout481.xml"/><Relationship Id="rId31" Type="http://schemas.openxmlformats.org/officeDocument/2006/relationships/slideLayout" Target="../slideLayouts/slideLayout493.xml"/><Relationship Id="rId4" Type="http://schemas.openxmlformats.org/officeDocument/2006/relationships/slideLayout" Target="../slideLayouts/slideLayout466.xml"/><Relationship Id="rId9" Type="http://schemas.openxmlformats.org/officeDocument/2006/relationships/slideLayout" Target="../slideLayouts/slideLayout471.xml"/><Relationship Id="rId14" Type="http://schemas.openxmlformats.org/officeDocument/2006/relationships/slideLayout" Target="../slideLayouts/slideLayout476.xml"/><Relationship Id="rId22" Type="http://schemas.openxmlformats.org/officeDocument/2006/relationships/slideLayout" Target="../slideLayouts/slideLayout484.xml"/><Relationship Id="rId27" Type="http://schemas.openxmlformats.org/officeDocument/2006/relationships/slideLayout" Target="../slideLayouts/slideLayout489.xml"/><Relationship Id="rId30" Type="http://schemas.openxmlformats.org/officeDocument/2006/relationships/slideLayout" Target="../slideLayouts/slideLayout492.xml"/><Relationship Id="rId35" Type="http://schemas.openxmlformats.org/officeDocument/2006/relationships/slideLayout" Target="../slideLayouts/slideLayout49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6.xml"/><Relationship Id="rId13" Type="http://schemas.openxmlformats.org/officeDocument/2006/relationships/slideLayout" Target="../slideLayouts/slideLayout511.xml"/><Relationship Id="rId3" Type="http://schemas.openxmlformats.org/officeDocument/2006/relationships/slideLayout" Target="../slideLayouts/slideLayout501.xml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2" Type="http://schemas.openxmlformats.org/officeDocument/2006/relationships/slideLayout" Target="../slideLayouts/slideLayout500.xml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5" Type="http://schemas.openxmlformats.org/officeDocument/2006/relationships/slideLayout" Target="../slideLayouts/slideLayout503.xml"/><Relationship Id="rId10" Type="http://schemas.openxmlformats.org/officeDocument/2006/relationships/slideLayout" Target="../slideLayouts/slideLayout508.xml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theme" Target="../theme/theme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83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36" Type="http://schemas.openxmlformats.org/officeDocument/2006/relationships/image" Target="../media/image6.jpeg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slideLayout" Target="../slideLayouts/slideLayout115.xml"/><Relationship Id="rId37" Type="http://schemas.openxmlformats.org/officeDocument/2006/relationships/image" Target="../media/image6.jpeg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slideLayout" Target="../slideLayouts/slideLayout1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FBD0FD3-03C8-4966-B0F3-639290726757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73EC54F-DB45-4287-AC8E-6E27D8BC5B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01" r:id="rId1"/>
    <p:sldLayoutId id="2147485200" r:id="rId2"/>
    <p:sldLayoutId id="2147485199" r:id="rId3"/>
    <p:sldLayoutId id="2147485198" r:id="rId4"/>
    <p:sldLayoutId id="2147485197" r:id="rId5"/>
    <p:sldLayoutId id="2147485196" r:id="rId6"/>
    <p:sldLayoutId id="2147485195" r:id="rId7"/>
    <p:sldLayoutId id="2147485194" r:id="rId8"/>
    <p:sldLayoutId id="2147485193" r:id="rId9"/>
    <p:sldLayoutId id="2147485192" r:id="rId10"/>
    <p:sldLayoutId id="2147485191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31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C2DF75D5-6F7F-4E78-8E53-37FFAC043693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131079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36" r:id="rId1"/>
    <p:sldLayoutId id="2147485437" r:id="rId2"/>
    <p:sldLayoutId id="2147485438" r:id="rId3"/>
    <p:sldLayoutId id="2147485439" r:id="rId4"/>
    <p:sldLayoutId id="2147485440" r:id="rId5"/>
    <p:sldLayoutId id="2147485441" r:id="rId6"/>
    <p:sldLayoutId id="2147485267" r:id="rId7"/>
    <p:sldLayoutId id="2147485266" r:id="rId8"/>
    <p:sldLayoutId id="2147485442" r:id="rId9"/>
    <p:sldLayoutId id="2147485265" r:id="rId10"/>
    <p:sldLayoutId id="2147485264" r:id="rId11"/>
    <p:sldLayoutId id="2147485263" r:id="rId12"/>
    <p:sldLayoutId id="2147485262" r:id="rId13"/>
    <p:sldLayoutId id="2147485261" r:id="rId14"/>
    <p:sldLayoutId id="2147485260" r:id="rId15"/>
    <p:sldLayoutId id="2147485443" r:id="rId16"/>
    <p:sldLayoutId id="2147485444" r:id="rId17"/>
    <p:sldLayoutId id="2147485259" r:id="rId18"/>
    <p:sldLayoutId id="2147485445" r:id="rId19"/>
    <p:sldLayoutId id="2147485446" r:id="rId20"/>
    <p:sldLayoutId id="2147485447" r:id="rId21"/>
    <p:sldLayoutId id="2147485448" r:id="rId22"/>
    <p:sldLayoutId id="2147485449" r:id="rId23"/>
    <p:sldLayoutId id="2147485450" r:id="rId24"/>
    <p:sldLayoutId id="2147485451" r:id="rId25"/>
    <p:sldLayoutId id="2147485258" r:id="rId26"/>
    <p:sldLayoutId id="2147485452" r:id="rId27"/>
    <p:sldLayoutId id="2147485453" r:id="rId28"/>
    <p:sldLayoutId id="2147485454" r:id="rId29"/>
    <p:sldLayoutId id="2147485455" r:id="rId30"/>
    <p:sldLayoutId id="2147485456" r:id="rId31"/>
    <p:sldLayoutId id="2147485457" r:id="rId32"/>
    <p:sldLayoutId id="2147485458" r:id="rId33"/>
    <p:sldLayoutId id="2147485459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6691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469A826-CB54-430A-A921-007C82FF6971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166919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60" r:id="rId1"/>
    <p:sldLayoutId id="2147485461" r:id="rId2"/>
    <p:sldLayoutId id="2147485462" r:id="rId3"/>
    <p:sldLayoutId id="2147485463" r:id="rId4"/>
    <p:sldLayoutId id="2147485464" r:id="rId5"/>
    <p:sldLayoutId id="2147485465" r:id="rId6"/>
    <p:sldLayoutId id="2147485277" r:id="rId7"/>
    <p:sldLayoutId id="2147485276" r:id="rId8"/>
    <p:sldLayoutId id="2147485466" r:id="rId9"/>
    <p:sldLayoutId id="2147485275" r:id="rId10"/>
    <p:sldLayoutId id="2147485274" r:id="rId11"/>
    <p:sldLayoutId id="2147485273" r:id="rId12"/>
    <p:sldLayoutId id="2147485272" r:id="rId13"/>
    <p:sldLayoutId id="2147485271" r:id="rId14"/>
    <p:sldLayoutId id="2147485270" r:id="rId15"/>
    <p:sldLayoutId id="2147485467" r:id="rId16"/>
    <p:sldLayoutId id="2147485468" r:id="rId17"/>
    <p:sldLayoutId id="2147485269" r:id="rId18"/>
    <p:sldLayoutId id="2147485469" r:id="rId19"/>
    <p:sldLayoutId id="2147485470" r:id="rId20"/>
    <p:sldLayoutId id="2147485471" r:id="rId21"/>
    <p:sldLayoutId id="2147485472" r:id="rId22"/>
    <p:sldLayoutId id="2147485473" r:id="rId23"/>
    <p:sldLayoutId id="2147485474" r:id="rId24"/>
    <p:sldLayoutId id="2147485475" r:id="rId25"/>
    <p:sldLayoutId id="2147485268" r:id="rId26"/>
    <p:sldLayoutId id="2147485476" r:id="rId27"/>
    <p:sldLayoutId id="2147485477" r:id="rId28"/>
    <p:sldLayoutId id="2147485478" r:id="rId29"/>
    <p:sldLayoutId id="2147485479" r:id="rId30"/>
    <p:sldLayoutId id="2147485480" r:id="rId31"/>
    <p:sldLayoutId id="2147485481" r:id="rId32"/>
    <p:sldLayoutId id="2147485482" r:id="rId33"/>
    <p:sldLayoutId id="2147485483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20275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8B455E9-5F63-4B89-ABDF-7F93ABA65A79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202759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84" r:id="rId1"/>
    <p:sldLayoutId id="2147485485" r:id="rId2"/>
    <p:sldLayoutId id="2147485486" r:id="rId3"/>
    <p:sldLayoutId id="2147485487" r:id="rId4"/>
    <p:sldLayoutId id="2147485488" r:id="rId5"/>
    <p:sldLayoutId id="2147485489" r:id="rId6"/>
    <p:sldLayoutId id="2147485287" r:id="rId7"/>
    <p:sldLayoutId id="2147485286" r:id="rId8"/>
    <p:sldLayoutId id="2147485490" r:id="rId9"/>
    <p:sldLayoutId id="2147485285" r:id="rId10"/>
    <p:sldLayoutId id="2147485284" r:id="rId11"/>
    <p:sldLayoutId id="2147485283" r:id="rId12"/>
    <p:sldLayoutId id="2147485282" r:id="rId13"/>
    <p:sldLayoutId id="2147485281" r:id="rId14"/>
    <p:sldLayoutId id="2147485280" r:id="rId15"/>
    <p:sldLayoutId id="2147485491" r:id="rId16"/>
    <p:sldLayoutId id="2147485492" r:id="rId17"/>
    <p:sldLayoutId id="2147485279" r:id="rId18"/>
    <p:sldLayoutId id="2147485493" r:id="rId19"/>
    <p:sldLayoutId id="2147485494" r:id="rId20"/>
    <p:sldLayoutId id="2147485495" r:id="rId21"/>
    <p:sldLayoutId id="2147485496" r:id="rId22"/>
    <p:sldLayoutId id="2147485497" r:id="rId23"/>
    <p:sldLayoutId id="2147485498" r:id="rId24"/>
    <p:sldLayoutId id="2147485499" r:id="rId25"/>
    <p:sldLayoutId id="2147485278" r:id="rId26"/>
    <p:sldLayoutId id="2147485500" r:id="rId27"/>
    <p:sldLayoutId id="2147485501" r:id="rId28"/>
    <p:sldLayoutId id="2147485502" r:id="rId29"/>
    <p:sldLayoutId id="2147485503" r:id="rId30"/>
    <p:sldLayoutId id="2147485504" r:id="rId31"/>
    <p:sldLayoutId id="2147485505" r:id="rId32"/>
    <p:sldLayoutId id="2147485506" r:id="rId33"/>
    <p:sldLayoutId id="2147485507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2385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D37F07AB-2CD3-40EC-BB34-450488481DF6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238599" name="Picture 7" descr="bottom bar.jpg"/>
          <p:cNvPicPr>
            <a:picLocks noChangeAspect="1"/>
          </p:cNvPicPr>
          <p:nvPr/>
        </p:nvPicPr>
        <p:blipFill>
          <a:blip r:embed="rId37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08" r:id="rId1"/>
    <p:sldLayoutId id="2147485509" r:id="rId2"/>
    <p:sldLayoutId id="2147485510" r:id="rId3"/>
    <p:sldLayoutId id="2147485511" r:id="rId4"/>
    <p:sldLayoutId id="2147485512" r:id="rId5"/>
    <p:sldLayoutId id="2147485513" r:id="rId6"/>
    <p:sldLayoutId id="2147485297" r:id="rId7"/>
    <p:sldLayoutId id="2147485296" r:id="rId8"/>
    <p:sldLayoutId id="2147485514" r:id="rId9"/>
    <p:sldLayoutId id="2147485295" r:id="rId10"/>
    <p:sldLayoutId id="2147485294" r:id="rId11"/>
    <p:sldLayoutId id="2147485293" r:id="rId12"/>
    <p:sldLayoutId id="2147485292" r:id="rId13"/>
    <p:sldLayoutId id="2147485291" r:id="rId14"/>
    <p:sldLayoutId id="2147485290" r:id="rId15"/>
    <p:sldLayoutId id="2147485515" r:id="rId16"/>
    <p:sldLayoutId id="2147485516" r:id="rId17"/>
    <p:sldLayoutId id="2147485289" r:id="rId18"/>
    <p:sldLayoutId id="2147485517" r:id="rId19"/>
    <p:sldLayoutId id="2147485518" r:id="rId20"/>
    <p:sldLayoutId id="2147485519" r:id="rId21"/>
    <p:sldLayoutId id="2147485520" r:id="rId22"/>
    <p:sldLayoutId id="2147485521" r:id="rId23"/>
    <p:sldLayoutId id="2147485522" r:id="rId24"/>
    <p:sldLayoutId id="2147485523" r:id="rId25"/>
    <p:sldLayoutId id="2147485288" r:id="rId26"/>
    <p:sldLayoutId id="2147485524" r:id="rId27"/>
    <p:sldLayoutId id="2147485525" r:id="rId28"/>
    <p:sldLayoutId id="2147485526" r:id="rId29"/>
    <p:sldLayoutId id="2147485527" r:id="rId30"/>
    <p:sldLayoutId id="2147485528" r:id="rId31"/>
    <p:sldLayoutId id="2147485529" r:id="rId32"/>
    <p:sldLayoutId id="2147485530" r:id="rId33"/>
    <p:sldLayoutId id="2147485531" r:id="rId34"/>
    <p:sldLayoutId id="2147485532" r:id="rId35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2754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989FF9A8-239D-4A08-8D3A-A7ABF149ED3F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275463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33" r:id="rId1"/>
    <p:sldLayoutId id="2147485534" r:id="rId2"/>
    <p:sldLayoutId id="2147485535" r:id="rId3"/>
    <p:sldLayoutId id="2147485536" r:id="rId4"/>
    <p:sldLayoutId id="2147485537" r:id="rId5"/>
    <p:sldLayoutId id="2147485538" r:id="rId6"/>
    <p:sldLayoutId id="2147485307" r:id="rId7"/>
    <p:sldLayoutId id="2147485306" r:id="rId8"/>
    <p:sldLayoutId id="2147485539" r:id="rId9"/>
    <p:sldLayoutId id="2147485305" r:id="rId10"/>
    <p:sldLayoutId id="2147485304" r:id="rId11"/>
    <p:sldLayoutId id="2147485303" r:id="rId12"/>
    <p:sldLayoutId id="2147485302" r:id="rId13"/>
    <p:sldLayoutId id="2147485301" r:id="rId14"/>
    <p:sldLayoutId id="2147485300" r:id="rId15"/>
    <p:sldLayoutId id="2147485540" r:id="rId16"/>
    <p:sldLayoutId id="2147485541" r:id="rId17"/>
    <p:sldLayoutId id="2147485299" r:id="rId18"/>
    <p:sldLayoutId id="2147485542" r:id="rId19"/>
    <p:sldLayoutId id="2147485543" r:id="rId20"/>
    <p:sldLayoutId id="2147485544" r:id="rId21"/>
    <p:sldLayoutId id="2147485545" r:id="rId22"/>
    <p:sldLayoutId id="2147485546" r:id="rId23"/>
    <p:sldLayoutId id="2147485547" r:id="rId24"/>
    <p:sldLayoutId id="2147485548" r:id="rId25"/>
    <p:sldLayoutId id="2147485298" r:id="rId26"/>
    <p:sldLayoutId id="2147485549" r:id="rId27"/>
    <p:sldLayoutId id="2147485550" r:id="rId28"/>
    <p:sldLayoutId id="2147485551" r:id="rId29"/>
    <p:sldLayoutId id="2147485552" r:id="rId30"/>
    <p:sldLayoutId id="2147485553" r:id="rId31"/>
    <p:sldLayoutId id="2147485554" r:id="rId32"/>
    <p:sldLayoutId id="2147485555" r:id="rId33"/>
    <p:sldLayoutId id="2147485556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112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4E37142-1EFD-4605-8854-4566378F4F0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311303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57" r:id="rId1"/>
    <p:sldLayoutId id="2147485558" r:id="rId2"/>
    <p:sldLayoutId id="2147485559" r:id="rId3"/>
    <p:sldLayoutId id="2147485560" r:id="rId4"/>
    <p:sldLayoutId id="2147485561" r:id="rId5"/>
    <p:sldLayoutId id="2147485562" r:id="rId6"/>
    <p:sldLayoutId id="2147485317" r:id="rId7"/>
    <p:sldLayoutId id="2147485316" r:id="rId8"/>
    <p:sldLayoutId id="2147485563" r:id="rId9"/>
    <p:sldLayoutId id="2147485315" r:id="rId10"/>
    <p:sldLayoutId id="2147485314" r:id="rId11"/>
    <p:sldLayoutId id="2147485313" r:id="rId12"/>
    <p:sldLayoutId id="2147485312" r:id="rId13"/>
    <p:sldLayoutId id="2147485311" r:id="rId14"/>
    <p:sldLayoutId id="2147485310" r:id="rId15"/>
    <p:sldLayoutId id="2147485564" r:id="rId16"/>
    <p:sldLayoutId id="2147485565" r:id="rId17"/>
    <p:sldLayoutId id="2147485309" r:id="rId18"/>
    <p:sldLayoutId id="2147485566" r:id="rId19"/>
    <p:sldLayoutId id="2147485567" r:id="rId20"/>
    <p:sldLayoutId id="2147485568" r:id="rId21"/>
    <p:sldLayoutId id="2147485569" r:id="rId22"/>
    <p:sldLayoutId id="2147485570" r:id="rId23"/>
    <p:sldLayoutId id="2147485571" r:id="rId24"/>
    <p:sldLayoutId id="2147485572" r:id="rId25"/>
    <p:sldLayoutId id="2147485308" r:id="rId26"/>
    <p:sldLayoutId id="2147485573" r:id="rId27"/>
    <p:sldLayoutId id="2147485574" r:id="rId28"/>
    <p:sldLayoutId id="2147485575" r:id="rId29"/>
    <p:sldLayoutId id="2147485576" r:id="rId30"/>
    <p:sldLayoutId id="2147485577" r:id="rId31"/>
    <p:sldLayoutId id="2147485578" r:id="rId32"/>
    <p:sldLayoutId id="2147485579" r:id="rId33"/>
    <p:sldLayoutId id="2147485580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4713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E62DA76F-F179-4DDB-BDEB-726AF5422C8B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347143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81" r:id="rId1"/>
    <p:sldLayoutId id="2147485582" r:id="rId2"/>
    <p:sldLayoutId id="2147485583" r:id="rId3"/>
    <p:sldLayoutId id="2147485584" r:id="rId4"/>
    <p:sldLayoutId id="2147485585" r:id="rId5"/>
    <p:sldLayoutId id="2147485586" r:id="rId6"/>
    <p:sldLayoutId id="2147485327" r:id="rId7"/>
    <p:sldLayoutId id="2147485326" r:id="rId8"/>
    <p:sldLayoutId id="2147485587" r:id="rId9"/>
    <p:sldLayoutId id="2147485325" r:id="rId10"/>
    <p:sldLayoutId id="2147485324" r:id="rId11"/>
    <p:sldLayoutId id="2147485323" r:id="rId12"/>
    <p:sldLayoutId id="2147485322" r:id="rId13"/>
    <p:sldLayoutId id="2147485321" r:id="rId14"/>
    <p:sldLayoutId id="2147485320" r:id="rId15"/>
    <p:sldLayoutId id="2147485588" r:id="rId16"/>
    <p:sldLayoutId id="2147485589" r:id="rId17"/>
    <p:sldLayoutId id="2147485319" r:id="rId18"/>
    <p:sldLayoutId id="2147485590" r:id="rId19"/>
    <p:sldLayoutId id="2147485591" r:id="rId20"/>
    <p:sldLayoutId id="2147485592" r:id="rId21"/>
    <p:sldLayoutId id="2147485593" r:id="rId22"/>
    <p:sldLayoutId id="2147485594" r:id="rId23"/>
    <p:sldLayoutId id="2147485595" r:id="rId24"/>
    <p:sldLayoutId id="2147485596" r:id="rId25"/>
    <p:sldLayoutId id="2147485318" r:id="rId26"/>
    <p:sldLayoutId id="2147485597" r:id="rId27"/>
    <p:sldLayoutId id="2147485598" r:id="rId28"/>
    <p:sldLayoutId id="2147485599" r:id="rId29"/>
    <p:sldLayoutId id="2147485600" r:id="rId30"/>
    <p:sldLayoutId id="2147485601" r:id="rId31"/>
    <p:sldLayoutId id="2147485602" r:id="rId32"/>
    <p:sldLayoutId id="2147485603" r:id="rId33"/>
    <p:sldLayoutId id="2147485604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8297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F1D47236-B1E4-452C-8668-197CF75C8FDA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382983" name="Picture 7" descr="bottom bar.jpg"/>
          <p:cNvPicPr>
            <a:picLocks noChangeAspect="1"/>
          </p:cNvPicPr>
          <p:nvPr/>
        </p:nvPicPr>
        <p:blipFill>
          <a:blip r:embed="rId37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05" r:id="rId1"/>
    <p:sldLayoutId id="2147485606" r:id="rId2"/>
    <p:sldLayoutId id="2147485607" r:id="rId3"/>
    <p:sldLayoutId id="2147485608" r:id="rId4"/>
    <p:sldLayoutId id="2147485609" r:id="rId5"/>
    <p:sldLayoutId id="2147485610" r:id="rId6"/>
    <p:sldLayoutId id="2147485338" r:id="rId7"/>
    <p:sldLayoutId id="2147485337" r:id="rId8"/>
    <p:sldLayoutId id="2147485611" r:id="rId9"/>
    <p:sldLayoutId id="2147485336" r:id="rId10"/>
    <p:sldLayoutId id="2147485335" r:id="rId11"/>
    <p:sldLayoutId id="2147485334" r:id="rId12"/>
    <p:sldLayoutId id="2147485333" r:id="rId13"/>
    <p:sldLayoutId id="2147485332" r:id="rId14"/>
    <p:sldLayoutId id="2147485331" r:id="rId15"/>
    <p:sldLayoutId id="2147485612" r:id="rId16"/>
    <p:sldLayoutId id="2147485613" r:id="rId17"/>
    <p:sldLayoutId id="2147485330" r:id="rId18"/>
    <p:sldLayoutId id="2147485614" r:id="rId19"/>
    <p:sldLayoutId id="2147485615" r:id="rId20"/>
    <p:sldLayoutId id="2147485616" r:id="rId21"/>
    <p:sldLayoutId id="2147485617" r:id="rId22"/>
    <p:sldLayoutId id="2147485618" r:id="rId23"/>
    <p:sldLayoutId id="2147485619" r:id="rId24"/>
    <p:sldLayoutId id="2147485620" r:id="rId25"/>
    <p:sldLayoutId id="2147485329" r:id="rId26"/>
    <p:sldLayoutId id="2147485621" r:id="rId27"/>
    <p:sldLayoutId id="2147485622" r:id="rId28"/>
    <p:sldLayoutId id="2147485623" r:id="rId29"/>
    <p:sldLayoutId id="2147485624" r:id="rId30"/>
    <p:sldLayoutId id="2147485625" r:id="rId31"/>
    <p:sldLayoutId id="2147485626" r:id="rId32"/>
    <p:sldLayoutId id="2147485627" r:id="rId33"/>
    <p:sldLayoutId id="2147485628" r:id="rId34"/>
    <p:sldLayoutId id="2147485328" r:id="rId35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198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BB1BEC63-257F-415D-9E46-641E2562FF07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419847" name="Picture 7" descr="bottom bar.jpg"/>
          <p:cNvPicPr>
            <a:picLocks noChangeAspect="1"/>
          </p:cNvPicPr>
          <p:nvPr/>
        </p:nvPicPr>
        <p:blipFill>
          <a:blip r:embed="rId37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dk1" tx1="lt1" bg2="dk2" tx2="lt2" accent1="accent1" accent2="accent2" accent3="accent3" accent4="accent4" accent5="accent5" accent6="accent6" hlink="hlink" folHlink="folHlink"/>
  <p:sldLayoutIdLst>
    <p:sldLayoutId id="2147485629" r:id="rId1"/>
    <p:sldLayoutId id="2147485630" r:id="rId2"/>
    <p:sldLayoutId id="2147485631" r:id="rId3"/>
    <p:sldLayoutId id="2147485632" r:id="rId4"/>
    <p:sldLayoutId id="2147485633" r:id="rId5"/>
    <p:sldLayoutId id="2147485634" r:id="rId6"/>
    <p:sldLayoutId id="2147485349" r:id="rId7"/>
    <p:sldLayoutId id="2147485348" r:id="rId8"/>
    <p:sldLayoutId id="2147485635" r:id="rId9"/>
    <p:sldLayoutId id="2147485347" r:id="rId10"/>
    <p:sldLayoutId id="2147485346" r:id="rId11"/>
    <p:sldLayoutId id="2147485345" r:id="rId12"/>
    <p:sldLayoutId id="2147485344" r:id="rId13"/>
    <p:sldLayoutId id="2147485343" r:id="rId14"/>
    <p:sldLayoutId id="2147485342" r:id="rId15"/>
    <p:sldLayoutId id="2147485636" r:id="rId16"/>
    <p:sldLayoutId id="2147485637" r:id="rId17"/>
    <p:sldLayoutId id="2147485341" r:id="rId18"/>
    <p:sldLayoutId id="2147485638" r:id="rId19"/>
    <p:sldLayoutId id="2147485639" r:id="rId20"/>
    <p:sldLayoutId id="2147485640" r:id="rId21"/>
    <p:sldLayoutId id="2147485641" r:id="rId22"/>
    <p:sldLayoutId id="2147485642" r:id="rId23"/>
    <p:sldLayoutId id="2147485643" r:id="rId24"/>
    <p:sldLayoutId id="2147485644" r:id="rId25"/>
    <p:sldLayoutId id="2147485340" r:id="rId26"/>
    <p:sldLayoutId id="2147485645" r:id="rId27"/>
    <p:sldLayoutId id="2147485646" r:id="rId28"/>
    <p:sldLayoutId id="2147485647" r:id="rId29"/>
    <p:sldLayoutId id="2147485648" r:id="rId30"/>
    <p:sldLayoutId id="2147485649" r:id="rId31"/>
    <p:sldLayoutId id="2147485650" r:id="rId32"/>
    <p:sldLayoutId id="2147485651" r:id="rId33"/>
    <p:sldLayoutId id="2147485652" r:id="rId34"/>
    <p:sldLayoutId id="2147485339" r:id="rId35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5670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43FC942C-4545-4DEF-AEA1-674DEA61EB04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456711" name="Picture 7" descr="bottom bar.jpg"/>
          <p:cNvPicPr>
            <a:picLocks noChangeAspect="1"/>
          </p:cNvPicPr>
          <p:nvPr/>
        </p:nvPicPr>
        <p:blipFill>
          <a:blip r:embed="rId37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53" r:id="rId1"/>
    <p:sldLayoutId id="2147485654" r:id="rId2"/>
    <p:sldLayoutId id="2147485655" r:id="rId3"/>
    <p:sldLayoutId id="2147485656" r:id="rId4"/>
    <p:sldLayoutId id="2147485657" r:id="rId5"/>
    <p:sldLayoutId id="2147485658" r:id="rId6"/>
    <p:sldLayoutId id="2147485360" r:id="rId7"/>
    <p:sldLayoutId id="2147485359" r:id="rId8"/>
    <p:sldLayoutId id="2147485659" r:id="rId9"/>
    <p:sldLayoutId id="2147485358" r:id="rId10"/>
    <p:sldLayoutId id="2147485357" r:id="rId11"/>
    <p:sldLayoutId id="2147485356" r:id="rId12"/>
    <p:sldLayoutId id="2147485355" r:id="rId13"/>
    <p:sldLayoutId id="2147485354" r:id="rId14"/>
    <p:sldLayoutId id="2147485353" r:id="rId15"/>
    <p:sldLayoutId id="2147485660" r:id="rId16"/>
    <p:sldLayoutId id="2147485661" r:id="rId17"/>
    <p:sldLayoutId id="2147485352" r:id="rId18"/>
    <p:sldLayoutId id="2147485662" r:id="rId19"/>
    <p:sldLayoutId id="2147485663" r:id="rId20"/>
    <p:sldLayoutId id="2147485664" r:id="rId21"/>
    <p:sldLayoutId id="2147485665" r:id="rId22"/>
    <p:sldLayoutId id="2147485666" r:id="rId23"/>
    <p:sldLayoutId id="2147485667" r:id="rId24"/>
    <p:sldLayoutId id="2147485668" r:id="rId25"/>
    <p:sldLayoutId id="2147485351" r:id="rId26"/>
    <p:sldLayoutId id="2147485669" r:id="rId27"/>
    <p:sldLayoutId id="2147485670" r:id="rId28"/>
    <p:sldLayoutId id="2147485671" r:id="rId29"/>
    <p:sldLayoutId id="2147485672" r:id="rId30"/>
    <p:sldLayoutId id="2147485673" r:id="rId31"/>
    <p:sldLayoutId id="2147485674" r:id="rId32"/>
    <p:sldLayoutId id="2147485675" r:id="rId33"/>
    <p:sldLayoutId id="2147485676" r:id="rId34"/>
    <p:sldLayoutId id="2147485350" r:id="rId35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fld id="{B77766A8-6B26-48C6-987F-1A9EB1431906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dirty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fld id="{ECDDD5FF-C881-434D-A980-DC2E8FA578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3317" name="Picture 2" descr="C:\DOCUME~1\johthomp\LOCALS~1\Temp\VMwareDnD\5ee88359\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4935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60A83781-252F-4F82-AE9B-9DDF1FBA7BB5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493575" name="Picture 7" descr="bottom bar.jpg"/>
          <p:cNvPicPr>
            <a:picLocks noChangeAspect="1"/>
          </p:cNvPicPr>
          <p:nvPr/>
        </p:nvPicPr>
        <p:blipFill>
          <a:blip r:embed="rId38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677" r:id="rId1"/>
    <p:sldLayoutId id="2147485678" r:id="rId2"/>
    <p:sldLayoutId id="2147485679" r:id="rId3"/>
    <p:sldLayoutId id="2147485680" r:id="rId4"/>
    <p:sldLayoutId id="2147485681" r:id="rId5"/>
    <p:sldLayoutId id="2147485682" r:id="rId6"/>
    <p:sldLayoutId id="2147485372" r:id="rId7"/>
    <p:sldLayoutId id="2147485371" r:id="rId8"/>
    <p:sldLayoutId id="2147485683" r:id="rId9"/>
    <p:sldLayoutId id="2147485370" r:id="rId10"/>
    <p:sldLayoutId id="2147485369" r:id="rId11"/>
    <p:sldLayoutId id="2147485368" r:id="rId12"/>
    <p:sldLayoutId id="2147485367" r:id="rId13"/>
    <p:sldLayoutId id="2147485366" r:id="rId14"/>
    <p:sldLayoutId id="2147485365" r:id="rId15"/>
    <p:sldLayoutId id="2147485684" r:id="rId16"/>
    <p:sldLayoutId id="2147485685" r:id="rId17"/>
    <p:sldLayoutId id="2147485364" r:id="rId18"/>
    <p:sldLayoutId id="2147485686" r:id="rId19"/>
    <p:sldLayoutId id="2147485687" r:id="rId20"/>
    <p:sldLayoutId id="2147485688" r:id="rId21"/>
    <p:sldLayoutId id="2147485689" r:id="rId22"/>
    <p:sldLayoutId id="2147485690" r:id="rId23"/>
    <p:sldLayoutId id="2147485691" r:id="rId24"/>
    <p:sldLayoutId id="2147485692" r:id="rId25"/>
    <p:sldLayoutId id="2147485363" r:id="rId26"/>
    <p:sldLayoutId id="2147485693" r:id="rId27"/>
    <p:sldLayoutId id="2147485694" r:id="rId28"/>
    <p:sldLayoutId id="2147485695" r:id="rId29"/>
    <p:sldLayoutId id="2147485696" r:id="rId30"/>
    <p:sldLayoutId id="2147485697" r:id="rId31"/>
    <p:sldLayoutId id="2147485698" r:id="rId32"/>
    <p:sldLayoutId id="2147485699" r:id="rId33"/>
    <p:sldLayoutId id="2147485700" r:id="rId34"/>
    <p:sldLayoutId id="2147485362" r:id="rId35"/>
    <p:sldLayoutId id="2147485361" r:id="rId36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458" name="Rectangle 6146"/>
          <p:cNvSpPr>
            <a:spLocks noGrp="1" noChangeArrowheads="1"/>
          </p:cNvSpPr>
          <p:nvPr>
            <p:ph type="title"/>
          </p:nvPr>
        </p:nvSpPr>
        <p:spPr bwMode="auto">
          <a:xfrm>
            <a:off x="655638" y="304800"/>
            <a:ext cx="8145462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092" tIns="41046" rIns="82092" bIns="4104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368774" name="Rectangle 6278"/>
          <p:cNvSpPr>
            <a:spLocks noChangeArrowheads="1"/>
          </p:cNvSpPr>
          <p:nvPr/>
        </p:nvSpPr>
        <p:spPr bwMode="auto">
          <a:xfrm>
            <a:off x="0" y="0"/>
            <a:ext cx="9144000" cy="177800"/>
          </a:xfrm>
          <a:prstGeom prst="rect">
            <a:avLst/>
          </a:prstGeom>
          <a:solidFill>
            <a:srgbClr val="015F85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03" tIns="45702" rIns="91403" bIns="45702" anchor="ctr"/>
          <a:lstStyle/>
          <a:p>
            <a:pPr algn="ctr" defTabSz="914124" eaLnBrk="0" hangingPunct="0">
              <a:lnSpc>
                <a:spcPct val="90000"/>
              </a:lnSpc>
              <a:defRPr/>
            </a:pPr>
            <a:endParaRPr lang="en-US" sz="20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68775" name="Rectangle 6279"/>
          <p:cNvSpPr>
            <a:spLocks noChangeArrowheads="1"/>
          </p:cNvSpPr>
          <p:nvPr/>
        </p:nvSpPr>
        <p:spPr bwMode="auto">
          <a:xfrm>
            <a:off x="1150938" y="6672263"/>
            <a:ext cx="20415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 anchorCtr="1">
            <a:spAutoFit/>
          </a:bodyPr>
          <a:lstStyle/>
          <a:p>
            <a:pPr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+mn-lt"/>
              </a:rPr>
              <a:t>© 2006 Cisco Systems, Inc. All rights reserved.</a:t>
            </a:r>
          </a:p>
        </p:txBody>
      </p:sp>
      <p:sp>
        <p:nvSpPr>
          <p:cNvPr id="368776" name="Rectangle 6280"/>
          <p:cNvSpPr>
            <a:spLocks noChangeArrowheads="1"/>
          </p:cNvSpPr>
          <p:nvPr/>
        </p:nvSpPr>
        <p:spPr bwMode="auto">
          <a:xfrm>
            <a:off x="3165475" y="6672263"/>
            <a:ext cx="8858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>
            <a:spAutoFit/>
          </a:bodyPr>
          <a:lstStyle/>
          <a:p>
            <a:pPr algn="r"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+mn-lt"/>
              </a:rPr>
              <a:t>Cisco Confidential</a:t>
            </a:r>
          </a:p>
        </p:txBody>
      </p:sp>
      <p:sp>
        <p:nvSpPr>
          <p:cNvPr id="368777" name="Rectangle 6281"/>
          <p:cNvSpPr>
            <a:spLocks noChangeArrowheads="1"/>
          </p:cNvSpPr>
          <p:nvPr/>
        </p:nvSpPr>
        <p:spPr bwMode="auto">
          <a:xfrm>
            <a:off x="193675" y="6672263"/>
            <a:ext cx="962025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92" tIns="41046" rIns="82092" bIns="41046" anchor="b">
            <a:spAutoFit/>
          </a:bodyPr>
          <a:lstStyle/>
          <a:p>
            <a:pPr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+mn-lt"/>
              </a:rPr>
              <a:t>Presentation_ID</a:t>
            </a:r>
          </a:p>
        </p:txBody>
      </p:sp>
      <p:sp>
        <p:nvSpPr>
          <p:cNvPr id="368778" name="Rectangle 6282"/>
          <p:cNvSpPr>
            <a:spLocks noChangeArrowheads="1"/>
          </p:cNvSpPr>
          <p:nvPr/>
        </p:nvSpPr>
        <p:spPr bwMode="auto">
          <a:xfrm>
            <a:off x="8591550" y="6626225"/>
            <a:ext cx="325438" cy="239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>
            <a:spAutoFit/>
          </a:bodyPr>
          <a:lstStyle/>
          <a:p>
            <a:pPr algn="r" defTabSz="814055" eaLnBrk="0" hangingPunct="0">
              <a:defRPr/>
            </a:pPr>
            <a:fld id="{FABF7926-2D70-454C-B261-C9C117A7EC97}" type="slidenum">
              <a:rPr lang="en-US" sz="1000">
                <a:solidFill>
                  <a:srgbClr val="D3D3D3"/>
                </a:solidFill>
                <a:latin typeface="+mn-lt"/>
              </a:rPr>
              <a:pPr algn="r" defTabSz="814055" eaLnBrk="0" hangingPunct="0">
                <a:defRPr/>
              </a:pPr>
              <a:t>‹#›</a:t>
            </a:fld>
            <a:endParaRPr lang="en-US" sz="1000" dirty="0">
              <a:solidFill>
                <a:srgbClr val="D3D3D3"/>
              </a:solidFill>
              <a:latin typeface="+mn-lt"/>
            </a:endParaRPr>
          </a:p>
        </p:txBody>
      </p:sp>
      <p:sp>
        <p:nvSpPr>
          <p:cNvPr id="531464" name="Rectangle 62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5638" y="1520825"/>
            <a:ext cx="7940675" cy="357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092" tIns="41046" rIns="82092" bIns="410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4" r:id="rId1"/>
    <p:sldLayoutId id="2147485383" r:id="rId2"/>
    <p:sldLayoutId id="2147485382" r:id="rId3"/>
    <p:sldLayoutId id="2147485381" r:id="rId4"/>
    <p:sldLayoutId id="2147485380" r:id="rId5"/>
    <p:sldLayoutId id="2147485379" r:id="rId6"/>
    <p:sldLayoutId id="2147485378" r:id="rId7"/>
    <p:sldLayoutId id="2147485377" r:id="rId8"/>
    <p:sldLayoutId id="2147485376" r:id="rId9"/>
    <p:sldLayoutId id="2147485375" r:id="rId10"/>
    <p:sldLayoutId id="2147485374" r:id="rId11"/>
    <p:sldLayoutId id="2147485373" r:id="rId12"/>
    <p:sldLayoutId id="2147485701" r:id="rId13"/>
  </p:sldLayoutIdLst>
  <p:timing>
    <p:tnLst>
      <p:par>
        <p:cTn id="1" dur="indefinite" restart="never" nodeType="tmRoot"/>
      </p:par>
    </p:tnLst>
  </p:timing>
  <p:txStyles>
    <p:titleStyle>
      <a:lvl1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013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027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041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055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defTabSz="812800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912813" indent="15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252538" indent="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603375" indent="222250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061322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518335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2975351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432363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27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1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5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7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82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5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9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146"/>
          <p:cNvSpPr>
            <a:spLocks noGrp="1" noChangeArrowheads="1"/>
          </p:cNvSpPr>
          <p:nvPr>
            <p:ph type="title"/>
          </p:nvPr>
        </p:nvSpPr>
        <p:spPr bwMode="auto">
          <a:xfrm>
            <a:off x="655638" y="304800"/>
            <a:ext cx="8145462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092" tIns="41046" rIns="82092" bIns="4104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368774" name="Rectangle 6278"/>
          <p:cNvSpPr>
            <a:spLocks noChangeArrowheads="1"/>
          </p:cNvSpPr>
          <p:nvPr/>
        </p:nvSpPr>
        <p:spPr bwMode="auto">
          <a:xfrm>
            <a:off x="0" y="0"/>
            <a:ext cx="9144000" cy="177800"/>
          </a:xfrm>
          <a:prstGeom prst="rect">
            <a:avLst/>
          </a:prstGeom>
          <a:solidFill>
            <a:srgbClr val="015F85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03" tIns="45702" rIns="91403" bIns="45702" anchor="ctr"/>
          <a:lstStyle/>
          <a:p>
            <a:pPr algn="ctr" defTabSz="914124" eaLnBrk="0" hangingPunct="0">
              <a:lnSpc>
                <a:spcPct val="90000"/>
              </a:lnSpc>
              <a:defRPr/>
            </a:pPr>
            <a:endParaRPr lang="en-US" sz="20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68775" name="Rectangle 6279"/>
          <p:cNvSpPr>
            <a:spLocks noChangeArrowheads="1"/>
          </p:cNvSpPr>
          <p:nvPr/>
        </p:nvSpPr>
        <p:spPr bwMode="auto">
          <a:xfrm>
            <a:off x="1150938" y="6672263"/>
            <a:ext cx="20415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 anchorCtr="1">
            <a:spAutoFit/>
          </a:bodyPr>
          <a:lstStyle/>
          <a:p>
            <a:pPr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© 2006 Cisco Systems, Inc. All rights reserved.</a:t>
            </a:r>
          </a:p>
        </p:txBody>
      </p:sp>
      <p:sp>
        <p:nvSpPr>
          <p:cNvPr id="368776" name="Rectangle 6280"/>
          <p:cNvSpPr>
            <a:spLocks noChangeArrowheads="1"/>
          </p:cNvSpPr>
          <p:nvPr/>
        </p:nvSpPr>
        <p:spPr bwMode="auto">
          <a:xfrm>
            <a:off x="3165475" y="6672263"/>
            <a:ext cx="8858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>
            <a:spAutoFit/>
          </a:bodyPr>
          <a:lstStyle/>
          <a:p>
            <a:pPr algn="r"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Cisco Confidential</a:t>
            </a:r>
          </a:p>
        </p:txBody>
      </p:sp>
      <p:sp>
        <p:nvSpPr>
          <p:cNvPr id="368777" name="Rectangle 6281"/>
          <p:cNvSpPr>
            <a:spLocks noChangeArrowheads="1"/>
          </p:cNvSpPr>
          <p:nvPr/>
        </p:nvSpPr>
        <p:spPr bwMode="auto">
          <a:xfrm>
            <a:off x="193675" y="6672263"/>
            <a:ext cx="962025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92" tIns="41046" rIns="82092" bIns="41046" anchor="b">
            <a:spAutoFit/>
          </a:bodyPr>
          <a:lstStyle/>
          <a:p>
            <a:pPr defTabSz="814055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Presentation_ID</a:t>
            </a:r>
          </a:p>
        </p:txBody>
      </p:sp>
      <p:sp>
        <p:nvSpPr>
          <p:cNvPr id="368778" name="Rectangle 6282"/>
          <p:cNvSpPr>
            <a:spLocks noChangeArrowheads="1"/>
          </p:cNvSpPr>
          <p:nvPr/>
        </p:nvSpPr>
        <p:spPr bwMode="auto">
          <a:xfrm>
            <a:off x="8591550" y="6626225"/>
            <a:ext cx="325438" cy="239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2" tIns="41046" rIns="82092" bIns="41046" anchor="b">
            <a:spAutoFit/>
          </a:bodyPr>
          <a:lstStyle/>
          <a:p>
            <a:pPr algn="r" defTabSz="814055" eaLnBrk="0" hangingPunct="0">
              <a:defRPr/>
            </a:pPr>
            <a:fld id="{5FC82D1F-D315-4FB6-81CA-2F789D2C34B5}" type="slidenum">
              <a:rPr lang="en-US" sz="1000">
                <a:solidFill>
                  <a:srgbClr val="D3D3D3"/>
                </a:solidFill>
                <a:latin typeface="Arial" pitchFamily="34" charset="0"/>
              </a:rPr>
              <a:pPr algn="r" defTabSz="814055" eaLnBrk="0" hangingPunct="0">
                <a:defRPr/>
              </a:pPr>
              <a:t>‹#›</a:t>
            </a:fld>
            <a:endParaRPr lang="en-US" sz="1000" dirty="0">
              <a:solidFill>
                <a:srgbClr val="D3D3D3"/>
              </a:solidFill>
              <a:latin typeface="Arial" pitchFamily="34" charset="0"/>
            </a:endParaRPr>
          </a:p>
        </p:txBody>
      </p:sp>
      <p:sp>
        <p:nvSpPr>
          <p:cNvPr id="14344" name="Rectangle 62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5638" y="1520825"/>
            <a:ext cx="7940675" cy="357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092" tIns="41046" rIns="82092" bIns="410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13" r:id="rId1"/>
    <p:sldLayoutId id="2147485212" r:id="rId2"/>
    <p:sldLayoutId id="2147485211" r:id="rId3"/>
    <p:sldLayoutId id="2147485210" r:id="rId4"/>
    <p:sldLayoutId id="2147485209" r:id="rId5"/>
    <p:sldLayoutId id="2147485208" r:id="rId6"/>
    <p:sldLayoutId id="2147485207" r:id="rId7"/>
    <p:sldLayoutId id="2147485206" r:id="rId8"/>
    <p:sldLayoutId id="2147485205" r:id="rId9"/>
    <p:sldLayoutId id="2147485204" r:id="rId10"/>
    <p:sldLayoutId id="2147485203" r:id="rId11"/>
    <p:sldLayoutId id="2147485202" r:id="rId12"/>
    <p:sldLayoutId id="2147485385" r:id="rId13"/>
  </p:sldLayoutIdLst>
  <p:timing>
    <p:tnLst>
      <p:par>
        <p:cTn id="1" dur="indefinite" restart="never" nodeType="tmRoot"/>
      </p:par>
    </p:tnLst>
  </p:timing>
  <p:txStyles>
    <p:titleStyle>
      <a:lvl1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013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027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041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055" algn="l" defTabSz="81405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defTabSz="812800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912813" indent="15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252538" indent="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603375" indent="222250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061322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518335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2975351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432363" algn="l" defTabSz="814055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27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1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5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7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82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5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9" algn="l" defTabSz="9140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6146"/>
          <p:cNvSpPr>
            <a:spLocks noGrp="1" noChangeArrowheads="1"/>
          </p:cNvSpPr>
          <p:nvPr>
            <p:ph type="title"/>
          </p:nvPr>
        </p:nvSpPr>
        <p:spPr bwMode="auto">
          <a:xfrm>
            <a:off x="655638" y="304800"/>
            <a:ext cx="8145462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16" tIns="41057" rIns="82116" bIns="4105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368774" name="Rectangle 6278"/>
          <p:cNvSpPr>
            <a:spLocks noChangeArrowheads="1"/>
          </p:cNvSpPr>
          <p:nvPr/>
        </p:nvSpPr>
        <p:spPr bwMode="auto">
          <a:xfrm>
            <a:off x="0" y="0"/>
            <a:ext cx="9144000" cy="177800"/>
          </a:xfrm>
          <a:prstGeom prst="rect">
            <a:avLst/>
          </a:prstGeom>
          <a:solidFill>
            <a:srgbClr val="015F85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algn="ctr" eaLnBrk="0" hangingPunct="0">
              <a:lnSpc>
                <a:spcPct val="90000"/>
              </a:lnSpc>
              <a:defRPr/>
            </a:pPr>
            <a:endParaRPr lang="en-US" sz="20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68775" name="Rectangle 6279"/>
          <p:cNvSpPr>
            <a:spLocks noChangeArrowheads="1"/>
          </p:cNvSpPr>
          <p:nvPr/>
        </p:nvSpPr>
        <p:spPr bwMode="auto">
          <a:xfrm>
            <a:off x="1150938" y="6672263"/>
            <a:ext cx="20415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 anchorCtr="1">
            <a:spAutoFit/>
          </a:bodyPr>
          <a:lstStyle/>
          <a:p>
            <a:pPr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© 2006 Cisco Systems, Inc. All rights reserved.</a:t>
            </a:r>
          </a:p>
        </p:txBody>
      </p:sp>
      <p:sp>
        <p:nvSpPr>
          <p:cNvPr id="368776" name="Rectangle 6280"/>
          <p:cNvSpPr>
            <a:spLocks noChangeArrowheads="1"/>
          </p:cNvSpPr>
          <p:nvPr/>
        </p:nvSpPr>
        <p:spPr bwMode="auto">
          <a:xfrm>
            <a:off x="3165475" y="6672263"/>
            <a:ext cx="8858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Cisco Confidential</a:t>
            </a:r>
          </a:p>
        </p:txBody>
      </p:sp>
      <p:sp>
        <p:nvSpPr>
          <p:cNvPr id="368777" name="Rectangle 6281"/>
          <p:cNvSpPr>
            <a:spLocks noChangeArrowheads="1"/>
          </p:cNvSpPr>
          <p:nvPr/>
        </p:nvSpPr>
        <p:spPr bwMode="auto">
          <a:xfrm>
            <a:off x="193675" y="6672263"/>
            <a:ext cx="962025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6" tIns="41057" rIns="82116" bIns="41057" anchor="b">
            <a:spAutoFit/>
          </a:bodyPr>
          <a:lstStyle/>
          <a:p>
            <a:pPr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Presentation_ID</a:t>
            </a:r>
          </a:p>
        </p:txBody>
      </p:sp>
      <p:sp>
        <p:nvSpPr>
          <p:cNvPr id="368778" name="Rectangle 6282"/>
          <p:cNvSpPr>
            <a:spLocks noChangeArrowheads="1"/>
          </p:cNvSpPr>
          <p:nvPr/>
        </p:nvSpPr>
        <p:spPr bwMode="auto">
          <a:xfrm>
            <a:off x="8594725" y="6626225"/>
            <a:ext cx="322263" cy="2365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01" eaLnBrk="0" hangingPunct="0">
              <a:defRPr/>
            </a:pPr>
            <a:fld id="{833B2728-EBE4-4133-805F-C53C74E20EE9}" type="slidenum">
              <a:rPr lang="en-US" sz="1000">
                <a:solidFill>
                  <a:srgbClr val="D3D3D3"/>
                </a:solidFill>
                <a:latin typeface="Arial" pitchFamily="34" charset="0"/>
              </a:rPr>
              <a:pPr algn="r" defTabSz="814301" eaLnBrk="0" hangingPunct="0">
                <a:defRPr/>
              </a:pPr>
              <a:t>‹#›</a:t>
            </a:fld>
            <a:endParaRPr lang="en-US" sz="1000" dirty="0">
              <a:solidFill>
                <a:srgbClr val="D3D3D3"/>
              </a:solidFill>
              <a:latin typeface="Arial" pitchFamily="34" charset="0"/>
            </a:endParaRPr>
          </a:p>
        </p:txBody>
      </p:sp>
      <p:sp>
        <p:nvSpPr>
          <p:cNvPr id="28680" name="Rectangle 62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5638" y="1520825"/>
            <a:ext cx="7940675" cy="357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16" tIns="41057" rIns="82116" bIns="4105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25" r:id="rId1"/>
    <p:sldLayoutId id="2147485224" r:id="rId2"/>
    <p:sldLayoutId id="2147485223" r:id="rId3"/>
    <p:sldLayoutId id="2147485222" r:id="rId4"/>
    <p:sldLayoutId id="2147485221" r:id="rId5"/>
    <p:sldLayoutId id="2147485220" r:id="rId6"/>
    <p:sldLayoutId id="2147485219" r:id="rId7"/>
    <p:sldLayoutId id="2147485218" r:id="rId8"/>
    <p:sldLayoutId id="2147485217" r:id="rId9"/>
    <p:sldLayoutId id="2147485216" r:id="rId10"/>
    <p:sldLayoutId id="2147485215" r:id="rId11"/>
    <p:sldLayoutId id="2147485214" r:id="rId12"/>
    <p:sldLayoutId id="2147485386" r:id="rId13"/>
  </p:sldLayoutIdLst>
  <p:timing>
    <p:tnLst>
      <p:par>
        <p:cTn id="1" dur="indefinite" restart="never" nodeType="tmRoot"/>
      </p:par>
    </p:tnLst>
  </p:timing>
  <p:txStyles>
    <p:titleStyle>
      <a:lvl1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152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303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455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606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defTabSz="812800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912813" indent="15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252538" indent="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603375" indent="222250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061945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519096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2976248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433399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3750" y="304800"/>
            <a:ext cx="7707313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24" tIns="41061" rIns="82124" bIns="4106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1153027" name="Rectangle 3"/>
          <p:cNvSpPr>
            <a:spLocks noChangeArrowheads="1"/>
          </p:cNvSpPr>
          <p:nvPr/>
        </p:nvSpPr>
        <p:spPr bwMode="auto">
          <a:xfrm>
            <a:off x="0" y="0"/>
            <a:ext cx="9144000" cy="177800"/>
          </a:xfrm>
          <a:prstGeom prst="rect">
            <a:avLst/>
          </a:prstGeom>
          <a:solidFill>
            <a:srgbClr val="0183B7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153028" name="Rectangle 4"/>
          <p:cNvSpPr>
            <a:spLocks noChangeArrowheads="1"/>
          </p:cNvSpPr>
          <p:nvPr/>
        </p:nvSpPr>
        <p:spPr bwMode="auto">
          <a:xfrm>
            <a:off x="1047750" y="6672263"/>
            <a:ext cx="222885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 anchorCtr="1">
            <a:spAutoFit/>
          </a:bodyPr>
          <a:lstStyle/>
          <a:p>
            <a:pPr defTabSz="814388" eaLnBrk="0" hangingPunct="0">
              <a:defRPr/>
            </a:pPr>
            <a:r>
              <a:rPr lang="en-US" sz="700" dirty="0">
                <a:solidFill>
                  <a:srgbClr val="8E8E95"/>
                </a:solidFill>
              </a:rPr>
              <a:t>© 2010 Cisco and/or its affiliates. All rights reserved.</a:t>
            </a:r>
          </a:p>
        </p:txBody>
      </p:sp>
      <p:sp>
        <p:nvSpPr>
          <p:cNvPr id="1153029" name="Rectangle 5"/>
          <p:cNvSpPr>
            <a:spLocks noChangeArrowheads="1"/>
          </p:cNvSpPr>
          <p:nvPr/>
        </p:nvSpPr>
        <p:spPr bwMode="auto">
          <a:xfrm>
            <a:off x="3173413" y="6672263"/>
            <a:ext cx="877887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eaLnBrk="0" hangingPunct="0">
              <a:defRPr/>
            </a:pPr>
            <a:r>
              <a:rPr lang="en-US" sz="700" dirty="0">
                <a:solidFill>
                  <a:srgbClr val="8E8E95"/>
                </a:solidFill>
              </a:rPr>
              <a:t>Cisco Confidential</a:t>
            </a:r>
          </a:p>
        </p:txBody>
      </p:sp>
      <p:sp>
        <p:nvSpPr>
          <p:cNvPr id="1153030" name="Rectangle 6"/>
          <p:cNvSpPr>
            <a:spLocks noChangeArrowheads="1"/>
          </p:cNvSpPr>
          <p:nvPr/>
        </p:nvSpPr>
        <p:spPr bwMode="auto">
          <a:xfrm>
            <a:off x="193675" y="6672263"/>
            <a:ext cx="962025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eaLnBrk="0" hangingPunct="0">
              <a:defRPr/>
            </a:pPr>
            <a:r>
              <a:rPr lang="en-US" sz="700" dirty="0">
                <a:solidFill>
                  <a:srgbClr val="8E8E95"/>
                </a:solidFill>
              </a:rPr>
              <a:t>Presentation_ID</a:t>
            </a:r>
          </a:p>
        </p:txBody>
      </p:sp>
      <p:sp>
        <p:nvSpPr>
          <p:cNvPr id="1153031" name="Rectangle 7"/>
          <p:cNvSpPr>
            <a:spLocks noChangeArrowheads="1"/>
          </p:cNvSpPr>
          <p:nvPr/>
        </p:nvSpPr>
        <p:spPr bwMode="auto">
          <a:xfrm>
            <a:off x="8596313" y="6626225"/>
            <a:ext cx="320675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eaLnBrk="0" hangingPunct="0">
              <a:defRPr/>
            </a:pPr>
            <a:fld id="{A0AC43AB-1FF0-4909-BF98-F7F475FA4FBA}" type="slidenum">
              <a:rPr lang="en-US" sz="1000">
                <a:solidFill>
                  <a:srgbClr val="8E8E95"/>
                </a:solidFill>
              </a:rPr>
              <a:pPr algn="r" defTabSz="814388" eaLnBrk="0" hangingPunct="0">
                <a:defRPr/>
              </a:pPr>
              <a:t>‹#›</a:t>
            </a:fld>
            <a:endParaRPr lang="en-US" sz="1000" dirty="0">
              <a:solidFill>
                <a:srgbClr val="8E8E95"/>
              </a:solidFill>
            </a:endParaRPr>
          </a:p>
        </p:txBody>
      </p:sp>
      <p:sp>
        <p:nvSpPr>
          <p:cNvPr id="4301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3750" y="1520825"/>
            <a:ext cx="7680325" cy="357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24" tIns="41061" rIns="82124" bIns="4106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87" r:id="rId1"/>
    <p:sldLayoutId id="2147485236" r:id="rId2"/>
    <p:sldLayoutId id="2147485235" r:id="rId3"/>
    <p:sldLayoutId id="2147485234" r:id="rId4"/>
    <p:sldLayoutId id="2147485233" r:id="rId5"/>
    <p:sldLayoutId id="2147485232" r:id="rId6"/>
    <p:sldLayoutId id="2147485231" r:id="rId7"/>
    <p:sldLayoutId id="2147485230" r:id="rId8"/>
    <p:sldLayoutId id="2147485229" r:id="rId9"/>
    <p:sldLayoutId id="2147485228" r:id="rId10"/>
    <p:sldLayoutId id="2147485227" r:id="rId11"/>
    <p:sldLayoutId id="2147485226" r:id="rId12"/>
  </p:sldLayoutIdLst>
  <p:timing>
    <p:tnLst>
      <p:par>
        <p:cTn id="1" dur="indefinite" restart="never" nodeType="tmRoot"/>
      </p:par>
    </p:tnLst>
  </p:timing>
  <p:txStyles>
    <p:titleStyle>
      <a:lvl1pPr algn="l" defTabSz="8143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143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2pPr>
      <a:lvl3pPr algn="l" defTabSz="8143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3pPr>
      <a:lvl4pPr algn="l" defTabSz="8143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4pPr>
      <a:lvl5pPr algn="l" defTabSz="8143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5pPr>
      <a:lvl6pPr marL="457200" algn="l" defTabSz="814388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6pPr>
      <a:lvl7pPr marL="914400" algn="l" defTabSz="814388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7pPr>
      <a:lvl8pPr marL="1371600" algn="l" defTabSz="814388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8pPr>
      <a:lvl9pPr marL="1828800" algn="l" defTabSz="814388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</a:defRPr>
      </a:lvl9pPr>
    </p:titleStyle>
    <p:bodyStyle>
      <a:lvl1pPr marL="236538" indent="-236538" algn="l" defTabSz="814388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117475" algn="l" defTabSz="814388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914400" algn="l" defTabSz="814388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254125" indent="117475" algn="l" defTabSz="814388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604963" indent="223838" algn="l" defTabSz="814388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062163" algn="l" defTabSz="814388" rtl="0" fontAlgn="base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519363" algn="l" defTabSz="814388" rtl="0" fontAlgn="base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2976563" algn="l" defTabSz="814388" rtl="0" fontAlgn="base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433763" algn="l" defTabSz="814388" rtl="0" fontAlgn="base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fld id="{C763B8EF-F127-4774-BFB6-95B6596D2B7E}" type="datetimeFigureOut">
              <a:rPr lang="en-US"/>
              <a:pPr>
                <a:defRPr/>
              </a:pPr>
              <a:t>1/11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dirty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rgbClr val="FFFFFF">
                    <a:tint val="75000"/>
                  </a:srgbClr>
                </a:solidFill>
                <a:latin typeface="Arial"/>
                <a:cs typeface="Arial" charset="0"/>
              </a:defRPr>
            </a:lvl1pPr>
          </a:lstStyle>
          <a:p>
            <a:pPr>
              <a:defRPr/>
            </a:pPr>
            <a:fld id="{C65BDB7A-B9BE-4BC2-B190-328A38AE62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56325" name="Picture 2" descr="C:\DOCUME~1\johthomp\LOCALS~1\Temp\VMwareDnD\5ee88359\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6146"/>
          <p:cNvSpPr>
            <a:spLocks noGrp="1" noChangeArrowheads="1"/>
          </p:cNvSpPr>
          <p:nvPr>
            <p:ph type="title"/>
          </p:nvPr>
        </p:nvSpPr>
        <p:spPr bwMode="auto">
          <a:xfrm>
            <a:off x="655638" y="304800"/>
            <a:ext cx="8145462" cy="838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16" tIns="41057" rIns="82116" bIns="41057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368774" name="Rectangle 6278"/>
          <p:cNvSpPr>
            <a:spLocks noChangeArrowheads="1"/>
          </p:cNvSpPr>
          <p:nvPr/>
        </p:nvSpPr>
        <p:spPr bwMode="auto">
          <a:xfrm>
            <a:off x="0" y="0"/>
            <a:ext cx="9144000" cy="177800"/>
          </a:xfrm>
          <a:prstGeom prst="rect">
            <a:avLst/>
          </a:prstGeom>
          <a:solidFill>
            <a:srgbClr val="015F85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algn="ctr" eaLnBrk="0" hangingPunct="0">
              <a:lnSpc>
                <a:spcPct val="90000"/>
              </a:lnSpc>
              <a:defRPr/>
            </a:pPr>
            <a:endParaRPr lang="en-US" sz="20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368775" name="Rectangle 6279"/>
          <p:cNvSpPr>
            <a:spLocks noChangeArrowheads="1"/>
          </p:cNvSpPr>
          <p:nvPr/>
        </p:nvSpPr>
        <p:spPr bwMode="auto">
          <a:xfrm>
            <a:off x="1150938" y="6672263"/>
            <a:ext cx="2079625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 anchorCtr="1">
            <a:spAutoFit/>
          </a:bodyPr>
          <a:lstStyle/>
          <a:p>
            <a:pPr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© 2006 Cisco Systems, Inc. All rights reserved.</a:t>
            </a:r>
          </a:p>
        </p:txBody>
      </p:sp>
      <p:sp>
        <p:nvSpPr>
          <p:cNvPr id="368776" name="Rectangle 6280"/>
          <p:cNvSpPr>
            <a:spLocks noChangeArrowheads="1"/>
          </p:cNvSpPr>
          <p:nvPr/>
        </p:nvSpPr>
        <p:spPr bwMode="auto">
          <a:xfrm>
            <a:off x="3151188" y="6672263"/>
            <a:ext cx="9001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Cisco Confidential</a:t>
            </a:r>
          </a:p>
        </p:txBody>
      </p:sp>
      <p:sp>
        <p:nvSpPr>
          <p:cNvPr id="368777" name="Rectangle 6281"/>
          <p:cNvSpPr>
            <a:spLocks noChangeArrowheads="1"/>
          </p:cNvSpPr>
          <p:nvPr/>
        </p:nvSpPr>
        <p:spPr bwMode="auto">
          <a:xfrm>
            <a:off x="193675" y="6672263"/>
            <a:ext cx="962025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16" tIns="41057" rIns="82116" bIns="41057" anchor="b">
            <a:spAutoFit/>
          </a:bodyPr>
          <a:lstStyle/>
          <a:p>
            <a:pPr defTabSz="814301" eaLnBrk="0" hangingPunct="0">
              <a:defRPr/>
            </a:pPr>
            <a:r>
              <a:rPr lang="en-US" sz="700" dirty="0">
                <a:solidFill>
                  <a:srgbClr val="D3D3D3"/>
                </a:solidFill>
                <a:latin typeface="Arial" pitchFamily="34" charset="0"/>
              </a:rPr>
              <a:t>Presentation_ID</a:t>
            </a:r>
          </a:p>
        </p:txBody>
      </p:sp>
      <p:sp>
        <p:nvSpPr>
          <p:cNvPr id="368778" name="Rectangle 6282"/>
          <p:cNvSpPr>
            <a:spLocks noChangeArrowheads="1"/>
          </p:cNvSpPr>
          <p:nvPr/>
        </p:nvSpPr>
        <p:spPr bwMode="auto">
          <a:xfrm>
            <a:off x="8591550" y="6626225"/>
            <a:ext cx="325438" cy="239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6" tIns="41057" rIns="82116" bIns="41057" anchor="b">
            <a:spAutoFit/>
          </a:bodyPr>
          <a:lstStyle/>
          <a:p>
            <a:pPr algn="r" defTabSz="814301" eaLnBrk="0" hangingPunct="0">
              <a:defRPr/>
            </a:pPr>
            <a:fld id="{E88B5479-B195-4EB1-9E3B-61FE5EE0093F}" type="slidenum">
              <a:rPr lang="en-US" sz="1000">
                <a:solidFill>
                  <a:srgbClr val="D3D3D3"/>
                </a:solidFill>
                <a:latin typeface="Arial" pitchFamily="34" charset="0"/>
              </a:rPr>
              <a:pPr algn="r" defTabSz="814301" eaLnBrk="0" hangingPunct="0">
                <a:defRPr/>
              </a:pPr>
              <a:t>‹#›</a:t>
            </a:fld>
            <a:endParaRPr lang="en-US" sz="1000" dirty="0">
              <a:solidFill>
                <a:srgbClr val="D3D3D3"/>
              </a:solidFill>
              <a:latin typeface="Arial" pitchFamily="34" charset="0"/>
            </a:endParaRPr>
          </a:p>
        </p:txBody>
      </p:sp>
      <p:sp>
        <p:nvSpPr>
          <p:cNvPr id="57352" name="Rectangle 62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5638" y="1520825"/>
            <a:ext cx="7940675" cy="3571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82116" tIns="41057" rIns="82116" bIns="4105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defTabSz="812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152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303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455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606" algn="l" defTabSz="8143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defTabSz="812800" rtl="0" eaLnBrk="0" fontAlgn="base" hangingPunct="0">
        <a:lnSpc>
          <a:spcPct val="95000"/>
        </a:lnSpc>
        <a:spcBef>
          <a:spcPct val="5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73088" indent="-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912813" indent="15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252538" indent="115888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1603375" indent="222250" algn="l" defTabSz="812800" rtl="0" eaLnBrk="0" fontAlgn="base" hangingPunct="0">
        <a:lnSpc>
          <a:spcPct val="95000"/>
        </a:lnSpc>
        <a:spcBef>
          <a:spcPct val="35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061945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6pPr>
      <a:lvl7pPr marL="2519096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7pPr>
      <a:lvl8pPr marL="2976248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8pPr>
      <a:lvl9pPr marL="3433399" algn="l" defTabSz="814301" rtl="0" eaLnBrk="1" fontAlgn="base" hangingPunct="1">
        <a:lnSpc>
          <a:spcPct val="95000"/>
        </a:lnSpc>
        <a:spcBef>
          <a:spcPct val="35000"/>
        </a:spcBef>
        <a:spcAft>
          <a:spcPct val="0"/>
        </a:spcAft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583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3754C53C-1756-4119-8E7E-4561E6A34512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58375" name="Picture 7" descr="bottom bar.jpg"/>
          <p:cNvPicPr>
            <a:picLocks noChangeAspect="1"/>
          </p:cNvPicPr>
          <p:nvPr/>
        </p:nvPicPr>
        <p:blipFill>
          <a:blip r:embed="rId36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88" r:id="rId1"/>
    <p:sldLayoutId id="2147485389" r:id="rId2"/>
    <p:sldLayoutId id="2147485390" r:id="rId3"/>
    <p:sldLayoutId id="2147485391" r:id="rId4"/>
    <p:sldLayoutId id="2147485392" r:id="rId5"/>
    <p:sldLayoutId id="2147485393" r:id="rId6"/>
    <p:sldLayoutId id="2147485246" r:id="rId7"/>
    <p:sldLayoutId id="2147485245" r:id="rId8"/>
    <p:sldLayoutId id="2147485394" r:id="rId9"/>
    <p:sldLayoutId id="2147485244" r:id="rId10"/>
    <p:sldLayoutId id="2147485243" r:id="rId11"/>
    <p:sldLayoutId id="2147485242" r:id="rId12"/>
    <p:sldLayoutId id="2147485241" r:id="rId13"/>
    <p:sldLayoutId id="2147485240" r:id="rId14"/>
    <p:sldLayoutId id="2147485239" r:id="rId15"/>
    <p:sldLayoutId id="2147485395" r:id="rId16"/>
    <p:sldLayoutId id="2147485396" r:id="rId17"/>
    <p:sldLayoutId id="2147485238" r:id="rId18"/>
    <p:sldLayoutId id="2147485397" r:id="rId19"/>
    <p:sldLayoutId id="2147485398" r:id="rId20"/>
    <p:sldLayoutId id="2147485399" r:id="rId21"/>
    <p:sldLayoutId id="2147485400" r:id="rId22"/>
    <p:sldLayoutId id="2147485401" r:id="rId23"/>
    <p:sldLayoutId id="2147485402" r:id="rId24"/>
    <p:sldLayoutId id="2147485403" r:id="rId25"/>
    <p:sldLayoutId id="2147485237" r:id="rId26"/>
    <p:sldLayoutId id="2147485404" r:id="rId27"/>
    <p:sldLayoutId id="2147485405" r:id="rId28"/>
    <p:sldLayoutId id="2147485406" r:id="rId29"/>
    <p:sldLayoutId id="2147485407" r:id="rId30"/>
    <p:sldLayoutId id="2147485408" r:id="rId31"/>
    <p:sldLayoutId id="2147485409" r:id="rId32"/>
    <p:sldLayoutId id="2147485410" r:id="rId33"/>
    <p:sldLayoutId id="2147485411" r:id="rId3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825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188" y="431800"/>
            <a:ext cx="8588375" cy="838200"/>
          </a:xfrm>
          <a:prstGeom prst="rect">
            <a:avLst/>
          </a:prstGeom>
        </p:spPr>
        <p:txBody>
          <a:bodyPr vert="horz" lIns="82296" tIns="45720" rIns="82296" bIns="45720" rtlCol="0" anchor="b" anchorCtr="0">
            <a:noAutofit/>
          </a:bodyPr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942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0188" y="1339850"/>
            <a:ext cx="8550275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250825" y="6586538"/>
            <a:ext cx="3421063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24" tIns="41061" rIns="82124" bIns="41061" anchor="b">
            <a:spAutoFit/>
          </a:bodyPr>
          <a:lstStyle/>
          <a:p>
            <a:pPr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© 2010 Cisco and/or its affiliates. All rights reserved.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ltGray">
          <a:xfrm>
            <a:off x="7764463" y="6584950"/>
            <a:ext cx="811212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C0C0C0"/>
                </a:solidFill>
                <a:latin typeface="+mn-lt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640763" y="6580188"/>
            <a:ext cx="260350" cy="1762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 anchor="b">
            <a:spAutoFit/>
          </a:bodyPr>
          <a:lstStyle/>
          <a:p>
            <a:pPr algn="r" defTabSz="814388" fontAlgn="auto">
              <a:spcBef>
                <a:spcPts val="0"/>
              </a:spcBef>
              <a:spcAft>
                <a:spcPts val="0"/>
              </a:spcAft>
              <a:defRPr/>
            </a:pPr>
            <a:fld id="{11DCDF44-F8F8-45CF-AE67-45F0D26AD9D8}" type="slidenum">
              <a:rPr lang="en-US" sz="600">
                <a:solidFill>
                  <a:srgbClr val="C0C0C0"/>
                </a:solidFill>
                <a:latin typeface="+mn-lt"/>
              </a:rPr>
              <a:pPr algn="r" defTabSz="81438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C0C0C0"/>
              </a:solidFill>
              <a:latin typeface="+mn-lt"/>
            </a:endParaRPr>
          </a:p>
        </p:txBody>
      </p:sp>
      <p:pic>
        <p:nvPicPr>
          <p:cNvPr id="94215" name="Picture 7" descr="bottom bar.jpg"/>
          <p:cNvPicPr>
            <a:picLocks noChangeAspect="1"/>
          </p:cNvPicPr>
          <p:nvPr/>
        </p:nvPicPr>
        <p:blipFill>
          <a:blip r:embed="rId37"/>
          <a:srcRect l="140" r="337"/>
          <a:stretch>
            <a:fillRect/>
          </a:stretch>
        </p:blipFill>
        <p:spPr bwMode="auto">
          <a:xfrm>
            <a:off x="354013" y="6378575"/>
            <a:ext cx="8435975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12" r:id="rId1"/>
    <p:sldLayoutId id="2147485413" r:id="rId2"/>
    <p:sldLayoutId id="2147485414" r:id="rId3"/>
    <p:sldLayoutId id="2147485415" r:id="rId4"/>
    <p:sldLayoutId id="2147485416" r:id="rId5"/>
    <p:sldLayoutId id="2147485417" r:id="rId6"/>
    <p:sldLayoutId id="2147485257" r:id="rId7"/>
    <p:sldLayoutId id="2147485256" r:id="rId8"/>
    <p:sldLayoutId id="2147485418" r:id="rId9"/>
    <p:sldLayoutId id="2147485255" r:id="rId10"/>
    <p:sldLayoutId id="2147485254" r:id="rId11"/>
    <p:sldLayoutId id="2147485253" r:id="rId12"/>
    <p:sldLayoutId id="2147485252" r:id="rId13"/>
    <p:sldLayoutId id="2147485251" r:id="rId14"/>
    <p:sldLayoutId id="2147485250" r:id="rId15"/>
    <p:sldLayoutId id="2147485419" r:id="rId16"/>
    <p:sldLayoutId id="2147485420" r:id="rId17"/>
    <p:sldLayoutId id="2147485249" r:id="rId18"/>
    <p:sldLayoutId id="2147485421" r:id="rId19"/>
    <p:sldLayoutId id="2147485422" r:id="rId20"/>
    <p:sldLayoutId id="2147485423" r:id="rId21"/>
    <p:sldLayoutId id="2147485424" r:id="rId22"/>
    <p:sldLayoutId id="2147485425" r:id="rId23"/>
    <p:sldLayoutId id="2147485426" r:id="rId24"/>
    <p:sldLayoutId id="2147485427" r:id="rId25"/>
    <p:sldLayoutId id="2147485248" r:id="rId26"/>
    <p:sldLayoutId id="2147485428" r:id="rId27"/>
    <p:sldLayoutId id="2147485429" r:id="rId28"/>
    <p:sldLayoutId id="2147485430" r:id="rId29"/>
    <p:sldLayoutId id="2147485431" r:id="rId30"/>
    <p:sldLayoutId id="2147485432" r:id="rId31"/>
    <p:sldLayoutId id="2147485433" r:id="rId32"/>
    <p:sldLayoutId id="2147485434" r:id="rId33"/>
    <p:sldLayoutId id="2147485435" r:id="rId34"/>
    <p:sldLayoutId id="2147485247" r:id="rId35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lang="en-US" sz="3600" kern="1200" dirty="0">
          <a:gradFill>
            <a:gsLst>
              <a:gs pos="0">
                <a:srgbClr val="00B2F0"/>
              </a:gs>
              <a:gs pos="44000">
                <a:srgbClr val="40FFFE"/>
              </a:gs>
              <a:gs pos="100000">
                <a:srgbClr val="96CA4B"/>
              </a:gs>
            </a:gsLst>
            <a:lin ang="4800000" scaled="0"/>
          </a:gra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charset="0"/>
        </a:defRPr>
      </a:lvl9pPr>
    </p:titleStyle>
    <p:bodyStyle>
      <a:lvl1pPr marL="228600" indent="-228600" algn="l" rtl="0" fontAlgn="base">
        <a:lnSpc>
          <a:spcPct val="95000"/>
        </a:lnSpc>
        <a:spcBef>
          <a:spcPts val="1438"/>
        </a:spcBef>
        <a:spcAft>
          <a:spcPct val="0"/>
        </a:spcAft>
        <a:buClr>
          <a:srgbClr val="96CA4B"/>
        </a:buClr>
        <a:buSzPct val="90000"/>
        <a:buFont typeface="Arial" charset="0"/>
        <a:buChar char="•"/>
        <a:defRPr lang="en-US" sz="2000" kern="1200" dirty="0">
          <a:solidFill>
            <a:schemeClr val="bg1"/>
          </a:solidFill>
          <a:latin typeface="+mj-lt"/>
          <a:ea typeface="+mn-ea"/>
          <a:cs typeface="+mn-cs"/>
        </a:defRPr>
      </a:lvl1pPr>
      <a:lvl2pPr marL="406400" algn="l" rtl="0" fontAlgn="base">
        <a:lnSpc>
          <a:spcPct val="95000"/>
        </a:lnSpc>
        <a:spcBef>
          <a:spcPts val="838"/>
        </a:spcBef>
        <a:spcAft>
          <a:spcPct val="0"/>
        </a:spcAft>
        <a:buClr>
          <a:schemeClr val="tx2"/>
        </a:buClr>
        <a:defRPr lang="en-US" kern="1200" dirty="0">
          <a:solidFill>
            <a:schemeClr val="bg1"/>
          </a:solidFill>
          <a:latin typeface="+mj-lt"/>
          <a:ea typeface="+mn-ea"/>
          <a:cs typeface="+mn-cs"/>
        </a:defRPr>
      </a:lvl2pPr>
      <a:lvl3pPr marL="571500" indent="-15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600" kern="1200" dirty="0">
          <a:solidFill>
            <a:schemeClr val="bg1"/>
          </a:solidFill>
          <a:latin typeface="+mj-lt"/>
          <a:ea typeface="+mn-ea"/>
          <a:cs typeface="+mn-cs"/>
        </a:defRPr>
      </a:lvl3pPr>
      <a:lvl4pPr marL="688975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4pPr>
      <a:lvl5pPr marL="801688" algn="l" rtl="0" fontAlgn="base">
        <a:lnSpc>
          <a:spcPct val="95000"/>
        </a:lnSpc>
        <a:spcBef>
          <a:spcPts val="838"/>
        </a:spcBef>
        <a:spcAft>
          <a:spcPct val="0"/>
        </a:spcAft>
        <a:buFont typeface="Arial" charset="0"/>
        <a:defRPr lang="en-US" sz="1400" kern="1200" dirty="0">
          <a:solidFill>
            <a:schemeClr val="bg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55.xml"/><Relationship Id="rId1" Type="http://schemas.openxmlformats.org/officeDocument/2006/relationships/tags" Target="../tags/tag4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0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Multi-Tenant Services – Lessons Learned</a:t>
            </a:r>
            <a:endParaRPr sz="2000"/>
          </a:p>
        </p:txBody>
      </p:sp>
      <p:sp>
        <p:nvSpPr>
          <p:cNvPr id="547842" name="Subtitle 2"/>
          <p:cNvSpPr>
            <a:spLocks noGrp="1"/>
          </p:cNvSpPr>
          <p:nvPr>
            <p:ph type="subTitle" idx="1"/>
          </p:nvPr>
        </p:nvSpPr>
        <p:spPr>
          <a:xfrm>
            <a:off x="236538" y="4654550"/>
            <a:ext cx="8112125" cy="384175"/>
          </a:xfrm>
        </p:spPr>
        <p:txBody>
          <a:bodyPr/>
          <a:lstStyle/>
          <a:p>
            <a:r>
              <a:rPr sz="2400" smtClean="0"/>
              <a:t>January 13, 2011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Agenda</a:t>
            </a:r>
            <a:endParaRPr sz="2000">
              <a:gradFill flip="none" rotWithShape="1">
                <a:gsLst>
                  <a:gs pos="0">
                    <a:srgbClr val="55E6ED"/>
                  </a:gs>
                  <a:gs pos="80000">
                    <a:srgbClr val="009249"/>
                  </a:gs>
                </a:gsLst>
                <a:lin ang="12000000" scaled="0"/>
                <a:tileRect/>
              </a:gra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922838" y="311150"/>
            <a:ext cx="4078287" cy="6208713"/>
          </a:xfrm>
        </p:spPr>
        <p:txBody>
          <a:bodyPr rtlCol="0"/>
          <a:lstStyle/>
          <a:p>
            <a:pPr marL="90488" indent="-180975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Multi-Tenant Service   Consideration</a:t>
            </a:r>
          </a:p>
          <a:p>
            <a:pPr marL="182563" indent="-27305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endParaRPr b="1" dirty="0" smtClean="0">
              <a:solidFill>
                <a:schemeClr val="bg1"/>
              </a:solidFill>
            </a:endParaRPr>
          </a:p>
          <a:p>
            <a:pPr marL="315913" indent="-40640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</a:rPr>
              <a:t> </a:t>
            </a:r>
            <a:endParaRPr dirty="0" smtClean="0">
              <a:solidFill>
                <a:schemeClr val="accent2"/>
              </a:solidFill>
            </a:endParaRPr>
          </a:p>
        </p:txBody>
      </p:sp>
      <p:pic>
        <p:nvPicPr>
          <p:cNvPr id="564227" name="Picture 3" descr="verticalbar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249" name="Title 1"/>
          <p:cNvSpPr>
            <a:spLocks noGrp="1"/>
          </p:cNvSpPr>
          <p:nvPr>
            <p:ph type="title"/>
          </p:nvPr>
        </p:nvSpPr>
        <p:spPr bwMode="auto">
          <a:xfrm>
            <a:off x="655638" y="304800"/>
            <a:ext cx="8145462" cy="419100"/>
          </a:xfrm>
        </p:spPr>
        <p:txBody>
          <a:bodyPr wrap="square" numCol="1" compatLnSpc="1">
            <a:prstTxWarp prst="textNoShape">
              <a:avLst/>
            </a:prstTxWarp>
          </a:bodyPr>
          <a:lstStyle/>
          <a:p>
            <a:r>
              <a:rPr sz="2400" b="1" smtClean="0">
                <a:solidFill>
                  <a:schemeClr val="bg1"/>
                </a:solidFill>
              </a:rPr>
              <a:t>Multi-Tenancy Requires Additional Considerations</a:t>
            </a:r>
          </a:p>
        </p:txBody>
      </p:sp>
      <p:graphicFrame>
        <p:nvGraphicFramePr>
          <p:cNvPr id="84036" name="Group 68"/>
          <p:cNvGraphicFramePr>
            <a:graphicFrameLocks noGrp="1"/>
          </p:cNvGraphicFramePr>
          <p:nvPr>
            <p:ph idx="1"/>
          </p:nvPr>
        </p:nvGraphicFramePr>
        <p:xfrm>
          <a:off x="423863" y="1593850"/>
          <a:ext cx="8300641" cy="4231421"/>
        </p:xfrm>
        <a:graphic>
          <a:graphicData uri="http://schemas.openxmlformats.org/drawingml/2006/table">
            <a:tbl>
              <a:tblPr/>
              <a:tblGrid>
                <a:gridCol w="1536199"/>
                <a:gridCol w="1535225"/>
                <a:gridCol w="1308084"/>
                <a:gridCol w="1306525"/>
                <a:gridCol w="1308083"/>
                <a:gridCol w="1306525"/>
              </a:tblGrid>
              <a:tr h="56526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Strategize</a:t>
                      </a:r>
                    </a:p>
                  </a:txBody>
                  <a:tcPr marL="0" marR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Plan</a:t>
                      </a:r>
                    </a:p>
                  </a:txBody>
                  <a:tcPr marL="0" marR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Implement</a:t>
                      </a:r>
                    </a:p>
                  </a:txBody>
                  <a:tcPr marL="0" marR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Operate</a:t>
                      </a:r>
                    </a:p>
                  </a:txBody>
                  <a:tcPr marL="0" marR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Optimize</a:t>
                      </a:r>
                    </a:p>
                  </a:txBody>
                  <a:tcPr marL="0" marR="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Sol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Financia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Technolog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Governanc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Peop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110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80808"/>
                          </a:solidFill>
                          <a:effectLst/>
                          <a:latin typeface="Arial" charset="0"/>
                        </a:rPr>
                        <a:t>Process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65318" name="Left-Right Arrow 5"/>
          <p:cNvSpPr>
            <a:spLocks noChangeArrowheads="1"/>
          </p:cNvSpPr>
          <p:nvPr/>
        </p:nvSpPr>
        <p:spPr bwMode="auto">
          <a:xfrm>
            <a:off x="2114550" y="2241550"/>
            <a:ext cx="6629400" cy="549275"/>
          </a:xfrm>
          <a:prstGeom prst="leftRightArrow">
            <a:avLst>
              <a:gd name="adj1" fmla="val 100000"/>
              <a:gd name="adj2" fmla="val 49954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Anticipation of future needs and balancing of standardization with flexibility for each tenant</a:t>
            </a:r>
          </a:p>
        </p:txBody>
      </p:sp>
      <p:sp>
        <p:nvSpPr>
          <p:cNvPr id="565319" name="Left-Right Arrow 6"/>
          <p:cNvSpPr>
            <a:spLocks noChangeArrowheads="1"/>
          </p:cNvSpPr>
          <p:nvPr/>
        </p:nvSpPr>
        <p:spPr bwMode="auto">
          <a:xfrm>
            <a:off x="2114550" y="2847975"/>
            <a:ext cx="6629400" cy="549275"/>
          </a:xfrm>
          <a:prstGeom prst="leftRightArrow">
            <a:avLst>
              <a:gd name="adj1" fmla="val 100000"/>
              <a:gd name="adj2" fmla="val 49954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Commitment to higher upfront investment, longer cost recovery, and internal billing strategy</a:t>
            </a:r>
          </a:p>
        </p:txBody>
      </p:sp>
      <p:sp>
        <p:nvSpPr>
          <p:cNvPr id="565320" name="Left-Right Arrow 7"/>
          <p:cNvSpPr>
            <a:spLocks noChangeArrowheads="1"/>
          </p:cNvSpPr>
          <p:nvPr/>
        </p:nvSpPr>
        <p:spPr bwMode="auto">
          <a:xfrm>
            <a:off x="2114550" y="4062413"/>
            <a:ext cx="6629400" cy="549275"/>
          </a:xfrm>
          <a:prstGeom prst="leftRightArrow">
            <a:avLst>
              <a:gd name="adj1" fmla="val 100000"/>
              <a:gd name="adj2" fmla="val 49954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Structure and processes to align multiple stakeholders </a:t>
            </a:r>
          </a:p>
          <a:p>
            <a:pPr algn="ctr"/>
            <a:r>
              <a:rPr lang="en-US" sz="1500" b="1">
                <a:solidFill>
                  <a:srgbClr val="FFFFFF"/>
                </a:solidFill>
              </a:rPr>
              <a:t>with varied needs</a:t>
            </a:r>
          </a:p>
        </p:txBody>
      </p:sp>
      <p:sp>
        <p:nvSpPr>
          <p:cNvPr id="565321" name="Left-Right Arrow 9"/>
          <p:cNvSpPr>
            <a:spLocks noChangeArrowheads="1"/>
          </p:cNvSpPr>
          <p:nvPr/>
        </p:nvSpPr>
        <p:spPr bwMode="auto">
          <a:xfrm>
            <a:off x="2114550" y="5276850"/>
            <a:ext cx="6629400" cy="549275"/>
          </a:xfrm>
          <a:prstGeom prst="leftRightArrow">
            <a:avLst>
              <a:gd name="adj1" fmla="val 100000"/>
              <a:gd name="adj2" fmla="val 49954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Enhanced operating processes and management of</a:t>
            </a:r>
          </a:p>
          <a:p>
            <a:pPr algn="ctr"/>
            <a:r>
              <a:rPr lang="en-US" sz="1500" b="1">
                <a:solidFill>
                  <a:srgbClr val="FFFFFF"/>
                </a:solidFill>
              </a:rPr>
              <a:t> adoption across tenants</a:t>
            </a:r>
          </a:p>
        </p:txBody>
      </p:sp>
      <p:sp>
        <p:nvSpPr>
          <p:cNvPr id="565322" name="Left-Right Arrow 10"/>
          <p:cNvSpPr>
            <a:spLocks noChangeArrowheads="1"/>
          </p:cNvSpPr>
          <p:nvPr/>
        </p:nvSpPr>
        <p:spPr bwMode="auto">
          <a:xfrm>
            <a:off x="2114550" y="3455988"/>
            <a:ext cx="6629400" cy="547687"/>
          </a:xfrm>
          <a:prstGeom prst="leftRightArrow">
            <a:avLst>
              <a:gd name="adj1" fmla="val 100000"/>
              <a:gd name="adj2" fmla="val 50099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Design of a flexible and scalable architecture built on the concept of configuration and integration vs. standalone stability</a:t>
            </a:r>
          </a:p>
        </p:txBody>
      </p:sp>
      <p:sp>
        <p:nvSpPr>
          <p:cNvPr id="95307" name="Left-Right Arrow 11"/>
          <p:cNvSpPr>
            <a:spLocks noChangeArrowheads="1"/>
          </p:cNvSpPr>
          <p:nvPr/>
        </p:nvSpPr>
        <p:spPr bwMode="auto">
          <a:xfrm>
            <a:off x="2036763" y="1201738"/>
            <a:ext cx="6683375" cy="361950"/>
          </a:xfrm>
          <a:prstGeom prst="leftRightArrow">
            <a:avLst>
              <a:gd name="adj1" fmla="val 77898"/>
              <a:gd name="adj2" fmla="val 50092"/>
            </a:avLst>
          </a:prstGeom>
          <a:solidFill>
            <a:schemeClr val="accent5">
              <a:alpha val="50195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+mn-lt"/>
              </a:rPr>
              <a:t>Lifecycle Phases</a:t>
            </a:r>
          </a:p>
        </p:txBody>
      </p:sp>
      <p:sp>
        <p:nvSpPr>
          <p:cNvPr id="565324" name="Left-Right Arrow 8"/>
          <p:cNvSpPr>
            <a:spLocks noChangeArrowheads="1"/>
          </p:cNvSpPr>
          <p:nvPr/>
        </p:nvSpPr>
        <p:spPr bwMode="auto">
          <a:xfrm>
            <a:off x="2114550" y="4670425"/>
            <a:ext cx="6629400" cy="547688"/>
          </a:xfrm>
          <a:prstGeom prst="leftRightArrow">
            <a:avLst>
              <a:gd name="adj1" fmla="val 100000"/>
              <a:gd name="adj2" fmla="val 50099"/>
            </a:avLst>
          </a:prstGeom>
          <a:solidFill>
            <a:srgbClr val="92D050">
              <a:alpha val="70195"/>
            </a:srgb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500" b="1">
                <a:solidFill>
                  <a:srgbClr val="FFFFFF"/>
                </a:solidFill>
              </a:rPr>
              <a:t>Extensive domain expertise, cross-functional resource assignment, and augment service delivery organization</a:t>
            </a:r>
          </a:p>
        </p:txBody>
      </p:sp>
      <p:sp>
        <p:nvSpPr>
          <p:cNvPr id="19" name="Content Placeholder 2"/>
          <p:cNvSpPr txBox="1">
            <a:spLocks/>
          </p:cNvSpPr>
          <p:nvPr/>
        </p:nvSpPr>
        <p:spPr bwMode="gray">
          <a:xfrm>
            <a:off x="273050" y="814388"/>
            <a:ext cx="8675688" cy="246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indent="4763" eaLnBrk="0" fontAlgn="auto" hangingPunct="0">
              <a:spcBef>
                <a:spcPts val="0"/>
              </a:spcBef>
              <a:spcAft>
                <a:spcPct val="50000"/>
              </a:spcAft>
              <a:buClr>
                <a:srgbClr val="6DB344"/>
              </a:buClr>
              <a:defRPr/>
            </a:pPr>
            <a:r>
              <a:rPr lang="en-US" sz="1600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hroughout an end-to-end service lifecycle, Multi-Tenancy calls for MT specific considerations:</a:t>
            </a:r>
          </a:p>
        </p:txBody>
      </p:sp>
      <p:sp>
        <p:nvSpPr>
          <p:cNvPr id="565326" name="TextBox 11"/>
          <p:cNvSpPr txBox="1">
            <a:spLocks noChangeArrowheads="1"/>
          </p:cNvSpPr>
          <p:nvPr/>
        </p:nvSpPr>
        <p:spPr bwMode="auto">
          <a:xfrm rot="-5400000">
            <a:off x="-1605755" y="3815556"/>
            <a:ext cx="364966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Domains</a:t>
            </a:r>
          </a:p>
        </p:txBody>
      </p:sp>
      <p:sp>
        <p:nvSpPr>
          <p:cNvPr id="565327" name="Rectangle 12"/>
          <p:cNvSpPr>
            <a:spLocks noChangeArrowheads="1"/>
          </p:cNvSpPr>
          <p:nvPr/>
        </p:nvSpPr>
        <p:spPr bwMode="auto">
          <a:xfrm>
            <a:off x="1038225" y="5902325"/>
            <a:ext cx="7143750" cy="484188"/>
          </a:xfrm>
          <a:prstGeom prst="rect">
            <a:avLst/>
          </a:prstGeom>
          <a:solidFill>
            <a:srgbClr val="92D05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400" i="1">
                <a:solidFill>
                  <a:srgbClr val="080808"/>
                </a:solidFill>
              </a:rPr>
              <a:t>These considerations have a series of implications that should </a:t>
            </a:r>
          </a:p>
          <a:p>
            <a:pPr algn="ctr"/>
            <a:r>
              <a:rPr lang="en-US" sz="1400" i="1">
                <a:solidFill>
                  <a:srgbClr val="080808"/>
                </a:solidFill>
              </a:rPr>
              <a:t>be contemplated in the design of multi-tenant servic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562099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Solution MT Considerations</a:t>
            </a:r>
          </a:p>
        </p:txBody>
      </p:sp>
      <p:sp>
        <p:nvSpPr>
          <p:cNvPr id="567298" name="Content Placeholder 2"/>
          <p:cNvSpPr>
            <a:spLocks noGrp="1"/>
          </p:cNvSpPr>
          <p:nvPr>
            <p:ph idx="1"/>
          </p:nvPr>
        </p:nvSpPr>
        <p:spPr>
          <a:xfrm>
            <a:off x="273050" y="925513"/>
            <a:ext cx="8675688" cy="665162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sz="1800" b="1"/>
              <a:t>Solution considerations for Multi-Tenancy require anticipation of future needs and balancing standardization with flexibility for each tenant</a:t>
            </a:r>
          </a:p>
        </p:txBody>
      </p:sp>
      <p:pic>
        <p:nvPicPr>
          <p:cNvPr id="56729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3325" y="168275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0904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5" name="Rounded Rectangle 24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85454" y="1662370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8" name="Rounded Rectangle 27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6867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1" name="Rounded Rectangle 30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  <p:graphicFrame>
        <p:nvGraphicFramePr>
          <p:cNvPr id="39" name="Table 38"/>
          <p:cNvGraphicFramePr>
            <a:graphicFrameLocks noGrp="1"/>
          </p:cNvGraphicFramePr>
          <p:nvPr/>
        </p:nvGraphicFramePr>
        <p:xfrm>
          <a:off x="347663" y="2549525"/>
          <a:ext cx="8602719" cy="3822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340281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Solution for more than one customer (current and future)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/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t all customers are going to be known upfront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12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fine, prioritize, and phase requirements with stakeholders who can speak for the business process current and future needs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12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uild for high scalability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82580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Trade-off between standard functionality and customization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/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usiness needs are dynamic and will continue to change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liver standardized multi-tenant services for commoditized, non-critical capabilities while providing flexibility via ability to configure application setting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6259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Security for tenant’s data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/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ta security remains a key concern for Multi-Tenant buyer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opt the</a:t>
                      </a:r>
                      <a:r>
                        <a:rPr lang="en-US" sz="14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right </a:t>
                      </a: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ata security procedure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" name="Group 39"/>
          <p:cNvGrpSpPr/>
          <p:nvPr/>
        </p:nvGrpSpPr>
        <p:grpSpPr>
          <a:xfrm>
            <a:off x="2891705" y="3061872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1" name="Right Arrow 40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oup 42"/>
          <p:cNvGrpSpPr/>
          <p:nvPr/>
        </p:nvGrpSpPr>
        <p:grpSpPr>
          <a:xfrm>
            <a:off x="2891705" y="4387959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4" name="Right Arrow 43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45"/>
          <p:cNvGrpSpPr/>
          <p:nvPr/>
        </p:nvGrpSpPr>
        <p:grpSpPr>
          <a:xfrm>
            <a:off x="2891705" y="5677484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7" name="Right Arrow 46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48"/>
          <p:cNvGrpSpPr/>
          <p:nvPr/>
        </p:nvGrpSpPr>
        <p:grpSpPr>
          <a:xfrm>
            <a:off x="5845516" y="3061872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50" name="Right Arrow 49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oup 51"/>
          <p:cNvGrpSpPr/>
          <p:nvPr/>
        </p:nvGrpSpPr>
        <p:grpSpPr>
          <a:xfrm>
            <a:off x="5845516" y="4387959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53" name="Right Arrow 5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oup 54"/>
          <p:cNvGrpSpPr/>
          <p:nvPr/>
        </p:nvGrpSpPr>
        <p:grpSpPr>
          <a:xfrm>
            <a:off x="5845516" y="5720016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56" name="Right Arrow 5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62763"/>
            <a:ext cx="8823960" cy="82296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Multi-Tenancy’s requirement for Demand/Supply Capacity Forecasting</a:t>
            </a:r>
            <a:endParaRPr/>
          </a:p>
        </p:txBody>
      </p:sp>
      <p:grpSp>
        <p:nvGrpSpPr>
          <p:cNvPr id="569346" name="Group 60"/>
          <p:cNvGrpSpPr>
            <a:grpSpLocks/>
          </p:cNvGrpSpPr>
          <p:nvPr/>
        </p:nvGrpSpPr>
        <p:grpSpPr bwMode="auto">
          <a:xfrm>
            <a:off x="3268663" y="1158875"/>
            <a:ext cx="2687637" cy="1673225"/>
            <a:chOff x="970554" y="1329797"/>
            <a:chExt cx="2687781" cy="1673472"/>
          </a:xfrm>
        </p:grpSpPr>
        <p:cxnSp>
          <p:nvCxnSpPr>
            <p:cNvPr id="26" name="Straight Connector 25"/>
            <p:cNvCxnSpPr/>
            <p:nvPr/>
          </p:nvCxnSpPr>
          <p:spPr>
            <a:xfrm flipH="1">
              <a:off x="970554" y="1890268"/>
              <a:ext cx="14288" cy="11130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970554" y="2445975"/>
              <a:ext cx="268778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970554" y="1890268"/>
              <a:ext cx="2438531" cy="1028852"/>
            </a:xfrm>
            <a:custGeom>
              <a:avLst/>
              <a:gdLst>
                <a:gd name="connsiteX0" fmla="*/ 0 w 2438400"/>
                <a:gd name="connsiteY0" fmla="*/ 833180 h 1336508"/>
                <a:gd name="connsiteX1" fmla="*/ 207818 w 2438400"/>
                <a:gd name="connsiteY1" fmla="*/ 403689 h 1336508"/>
                <a:gd name="connsiteX2" fmla="*/ 457200 w 2438400"/>
                <a:gd name="connsiteY2" fmla="*/ 348271 h 1336508"/>
                <a:gd name="connsiteX3" fmla="*/ 692727 w 2438400"/>
                <a:gd name="connsiteY3" fmla="*/ 528380 h 1336508"/>
                <a:gd name="connsiteX4" fmla="*/ 803563 w 2438400"/>
                <a:gd name="connsiteY4" fmla="*/ 1054853 h 1336508"/>
                <a:gd name="connsiteX5" fmla="*/ 969818 w 2438400"/>
                <a:gd name="connsiteY5" fmla="*/ 1193398 h 1336508"/>
                <a:gd name="connsiteX6" fmla="*/ 1122218 w 2438400"/>
                <a:gd name="connsiteY6" fmla="*/ 957871 h 1336508"/>
                <a:gd name="connsiteX7" fmla="*/ 1177636 w 2438400"/>
                <a:gd name="connsiteY7" fmla="*/ 639217 h 1336508"/>
                <a:gd name="connsiteX8" fmla="*/ 1371600 w 2438400"/>
                <a:gd name="connsiteY8" fmla="*/ 597653 h 1336508"/>
                <a:gd name="connsiteX9" fmla="*/ 1496291 w 2438400"/>
                <a:gd name="connsiteY9" fmla="*/ 930162 h 1336508"/>
                <a:gd name="connsiteX10" fmla="*/ 1551709 w 2438400"/>
                <a:gd name="connsiteY10" fmla="*/ 1262671 h 1336508"/>
                <a:gd name="connsiteX11" fmla="*/ 1828800 w 2438400"/>
                <a:gd name="connsiteY11" fmla="*/ 1234962 h 1336508"/>
                <a:gd name="connsiteX12" fmla="*/ 2036618 w 2438400"/>
                <a:gd name="connsiteY12" fmla="*/ 195871 h 1336508"/>
                <a:gd name="connsiteX13" fmla="*/ 2438400 w 2438400"/>
                <a:gd name="connsiteY13" fmla="*/ 1908 h 1336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38400" h="1336508">
                  <a:moveTo>
                    <a:pt x="0" y="833180"/>
                  </a:moveTo>
                  <a:cubicBezTo>
                    <a:pt x="65809" y="658843"/>
                    <a:pt x="131618" y="484507"/>
                    <a:pt x="207818" y="403689"/>
                  </a:cubicBezTo>
                  <a:cubicBezTo>
                    <a:pt x="284018" y="322871"/>
                    <a:pt x="376382" y="327489"/>
                    <a:pt x="457200" y="348271"/>
                  </a:cubicBezTo>
                  <a:cubicBezTo>
                    <a:pt x="538018" y="369053"/>
                    <a:pt x="635000" y="410616"/>
                    <a:pt x="692727" y="528380"/>
                  </a:cubicBezTo>
                  <a:cubicBezTo>
                    <a:pt x="750454" y="646144"/>
                    <a:pt x="757381" y="944017"/>
                    <a:pt x="803563" y="1054853"/>
                  </a:cubicBezTo>
                  <a:cubicBezTo>
                    <a:pt x="849745" y="1165689"/>
                    <a:pt x="916709" y="1209562"/>
                    <a:pt x="969818" y="1193398"/>
                  </a:cubicBezTo>
                  <a:cubicBezTo>
                    <a:pt x="1022927" y="1177234"/>
                    <a:pt x="1087582" y="1050235"/>
                    <a:pt x="1122218" y="957871"/>
                  </a:cubicBezTo>
                  <a:cubicBezTo>
                    <a:pt x="1156854" y="865508"/>
                    <a:pt x="1136072" y="699253"/>
                    <a:pt x="1177636" y="639217"/>
                  </a:cubicBezTo>
                  <a:cubicBezTo>
                    <a:pt x="1219200" y="579181"/>
                    <a:pt x="1318491" y="549162"/>
                    <a:pt x="1371600" y="597653"/>
                  </a:cubicBezTo>
                  <a:cubicBezTo>
                    <a:pt x="1424709" y="646144"/>
                    <a:pt x="1466273" y="819326"/>
                    <a:pt x="1496291" y="930162"/>
                  </a:cubicBezTo>
                  <a:cubicBezTo>
                    <a:pt x="1526309" y="1040998"/>
                    <a:pt x="1496291" y="1211871"/>
                    <a:pt x="1551709" y="1262671"/>
                  </a:cubicBezTo>
                  <a:cubicBezTo>
                    <a:pt x="1607127" y="1313471"/>
                    <a:pt x="1747982" y="1412762"/>
                    <a:pt x="1828800" y="1234962"/>
                  </a:cubicBezTo>
                  <a:cubicBezTo>
                    <a:pt x="1909618" y="1057162"/>
                    <a:pt x="1935018" y="401380"/>
                    <a:pt x="2036618" y="195871"/>
                  </a:cubicBezTo>
                  <a:cubicBezTo>
                    <a:pt x="2138218" y="-9638"/>
                    <a:pt x="2288309" y="-3865"/>
                    <a:pt x="2438400" y="1908"/>
                  </a:cubicBezTo>
                </a:path>
              </a:pathLst>
            </a:cu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96D6"/>
                </a:solidFill>
              </a:endParaRPr>
            </a:p>
          </p:txBody>
        </p:sp>
        <p:sp>
          <p:nvSpPr>
            <p:cNvPr id="569431" name="TextBox 30"/>
            <p:cNvSpPr txBox="1">
              <a:spLocks noChangeArrowheads="1"/>
            </p:cNvSpPr>
            <p:nvPr/>
          </p:nvSpPr>
          <p:spPr bwMode="auto">
            <a:xfrm>
              <a:off x="1437110" y="1329797"/>
              <a:ext cx="1356462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u="sng">
                  <a:solidFill>
                    <a:srgbClr val="FFFFFF"/>
                  </a:solidFill>
                  <a:cs typeface="Arial" charset="0"/>
                </a:rPr>
                <a:t>Demand  Profile</a:t>
              </a:r>
            </a:p>
          </p:txBody>
        </p:sp>
        <p:sp>
          <p:nvSpPr>
            <p:cNvPr id="569432" name="TextBox 31"/>
            <p:cNvSpPr txBox="1">
              <a:spLocks noChangeArrowheads="1"/>
            </p:cNvSpPr>
            <p:nvPr/>
          </p:nvSpPr>
          <p:spPr bwMode="auto">
            <a:xfrm>
              <a:off x="1815681" y="1889585"/>
              <a:ext cx="891591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FFFFFF"/>
                  </a:solidFill>
                  <a:cs typeface="Arial" charset="0"/>
                </a:rPr>
                <a:t>Aggregate</a:t>
              </a:r>
            </a:p>
          </p:txBody>
        </p:sp>
      </p:grpSp>
      <p:grpSp>
        <p:nvGrpSpPr>
          <p:cNvPr id="569347" name="Group 2"/>
          <p:cNvGrpSpPr>
            <a:grpSpLocks/>
          </p:cNvGrpSpPr>
          <p:nvPr/>
        </p:nvGrpSpPr>
        <p:grpSpPr bwMode="auto">
          <a:xfrm>
            <a:off x="2997200" y="3243263"/>
            <a:ext cx="3124200" cy="2457450"/>
            <a:chOff x="3247869" y="3310063"/>
            <a:chExt cx="3124698" cy="2457408"/>
          </a:xfrm>
        </p:grpSpPr>
        <p:grpSp>
          <p:nvGrpSpPr>
            <p:cNvPr id="569404" name="Group 50"/>
            <p:cNvGrpSpPr>
              <a:grpSpLocks/>
            </p:cNvGrpSpPr>
            <p:nvPr/>
          </p:nvGrpSpPr>
          <p:grpSpPr bwMode="auto">
            <a:xfrm>
              <a:off x="3498662" y="4686710"/>
              <a:ext cx="968438" cy="571500"/>
              <a:chOff x="2362200" y="4419600"/>
              <a:chExt cx="4038600" cy="1219200"/>
            </a:xfrm>
          </p:grpSpPr>
          <p:sp>
            <p:nvSpPr>
              <p:cNvPr id="569424" name="Freeform 9"/>
              <p:cNvSpPr>
                <a:spLocks noChangeArrowheads="1"/>
              </p:cNvSpPr>
              <p:nvPr/>
            </p:nvSpPr>
            <p:spPr bwMode="auto">
              <a:xfrm>
                <a:off x="2413000" y="4419600"/>
                <a:ext cx="3911600" cy="886883"/>
              </a:xfrm>
              <a:custGeom>
                <a:avLst/>
                <a:gdLst>
                  <a:gd name="T0" fmla="*/ 0 w 4699000"/>
                  <a:gd name="T1" fmla="*/ 196030 h 1559983"/>
                  <a:gd name="T2" fmla="*/ 58606 w 4699000"/>
                  <a:gd name="T3" fmla="*/ 112017 h 1559983"/>
                  <a:gd name="T4" fmla="*/ 131863 w 4699000"/>
                  <a:gd name="T5" fmla="*/ 63010 h 1559983"/>
                  <a:gd name="T6" fmla="*/ 271052 w 4699000"/>
                  <a:gd name="T7" fmla="*/ 81679 h 1559983"/>
                  <a:gd name="T8" fmla="*/ 358961 w 4699000"/>
                  <a:gd name="T9" fmla="*/ 191362 h 1559983"/>
                  <a:gd name="T10" fmla="*/ 395589 w 4699000"/>
                  <a:gd name="T11" fmla="*/ 266040 h 1559983"/>
                  <a:gd name="T12" fmla="*/ 505475 w 4699000"/>
                  <a:gd name="T13" fmla="*/ 284710 h 1559983"/>
                  <a:gd name="T14" fmla="*/ 586057 w 4699000"/>
                  <a:gd name="T15" fmla="*/ 254372 h 1559983"/>
                  <a:gd name="T16" fmla="*/ 681293 w 4699000"/>
                  <a:gd name="T17" fmla="*/ 109684 h 1559983"/>
                  <a:gd name="T18" fmla="*/ 798504 w 4699000"/>
                  <a:gd name="T19" fmla="*/ 42006 h 1559983"/>
                  <a:gd name="T20" fmla="*/ 945019 w 4699000"/>
                  <a:gd name="T21" fmla="*/ 56008 h 1559983"/>
                  <a:gd name="T22" fmla="*/ 1018276 w 4699000"/>
                  <a:gd name="T23" fmla="*/ 128353 h 1559983"/>
                  <a:gd name="T24" fmla="*/ 1098859 w 4699000"/>
                  <a:gd name="T25" fmla="*/ 231035 h 1559983"/>
                  <a:gd name="T26" fmla="*/ 1252699 w 4699000"/>
                  <a:gd name="T27" fmla="*/ 275375 h 1559983"/>
                  <a:gd name="T28" fmla="*/ 1384562 w 4699000"/>
                  <a:gd name="T29" fmla="*/ 240370 h 1559983"/>
                  <a:gd name="T30" fmla="*/ 1479797 w 4699000"/>
                  <a:gd name="T31" fmla="*/ 56008 h 1559983"/>
                  <a:gd name="T32" fmla="*/ 1611660 w 4699000"/>
                  <a:gd name="T33" fmla="*/ 14002 h 1559983"/>
                  <a:gd name="T34" fmla="*/ 1743523 w 4699000"/>
                  <a:gd name="T35" fmla="*/ 67677 h 1559983"/>
                  <a:gd name="T36" fmla="*/ 1816779 w 4699000"/>
                  <a:gd name="T37" fmla="*/ 170360 h 1559983"/>
                  <a:gd name="T38" fmla="*/ 1890036 w 4699000"/>
                  <a:gd name="T39" fmla="*/ 259040 h 1559983"/>
                  <a:gd name="T40" fmla="*/ 2029226 w 4699000"/>
                  <a:gd name="T41" fmla="*/ 275375 h 1559983"/>
                  <a:gd name="T42" fmla="*/ 2146437 w 4699000"/>
                  <a:gd name="T43" fmla="*/ 221700 h 1559983"/>
                  <a:gd name="T44" fmla="*/ 2241670 w 4699000"/>
                  <a:gd name="T45" fmla="*/ 32672 h 1559983"/>
                  <a:gd name="T46" fmla="*/ 2388185 w 4699000"/>
                  <a:gd name="T47" fmla="*/ 25670 h 1559983"/>
                  <a:gd name="T48" fmla="*/ 2476095 w 4699000"/>
                  <a:gd name="T49" fmla="*/ 81679 h 1559983"/>
                  <a:gd name="T50" fmla="*/ 2585981 w 4699000"/>
                  <a:gd name="T51" fmla="*/ 210032 h 1559983"/>
                  <a:gd name="T52" fmla="*/ 2710518 w 4699000"/>
                  <a:gd name="T53" fmla="*/ 256706 h 155998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4699000"/>
                  <a:gd name="T82" fmla="*/ 0 h 1559983"/>
                  <a:gd name="T83" fmla="*/ 4699000 w 4699000"/>
                  <a:gd name="T84" fmla="*/ 1559983 h 1559983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4699000" h="1559983">
                    <a:moveTo>
                      <a:pt x="0" y="1066800"/>
                    </a:moveTo>
                    <a:cubicBezTo>
                      <a:pt x="31750" y="898525"/>
                      <a:pt x="63500" y="730250"/>
                      <a:pt x="101600" y="609600"/>
                    </a:cubicBezTo>
                    <a:cubicBezTo>
                      <a:pt x="139700" y="488950"/>
                      <a:pt x="167217" y="370417"/>
                      <a:pt x="228600" y="342900"/>
                    </a:cubicBezTo>
                    <a:cubicBezTo>
                      <a:pt x="289983" y="315383"/>
                      <a:pt x="404283" y="328083"/>
                      <a:pt x="469900" y="444500"/>
                    </a:cubicBezTo>
                    <a:cubicBezTo>
                      <a:pt x="535517" y="560917"/>
                      <a:pt x="586317" y="874183"/>
                      <a:pt x="622300" y="1041400"/>
                    </a:cubicBezTo>
                    <a:cubicBezTo>
                      <a:pt x="658283" y="1208617"/>
                      <a:pt x="643467" y="1363133"/>
                      <a:pt x="685800" y="1447800"/>
                    </a:cubicBezTo>
                    <a:cubicBezTo>
                      <a:pt x="728133" y="1532467"/>
                      <a:pt x="821267" y="1559983"/>
                      <a:pt x="876300" y="1549400"/>
                    </a:cubicBezTo>
                    <a:cubicBezTo>
                      <a:pt x="931333" y="1538817"/>
                      <a:pt x="965200" y="1543050"/>
                      <a:pt x="1016000" y="1384300"/>
                    </a:cubicBezTo>
                    <a:cubicBezTo>
                      <a:pt x="1066800" y="1225550"/>
                      <a:pt x="1119717" y="789517"/>
                      <a:pt x="1181100" y="596900"/>
                    </a:cubicBezTo>
                    <a:cubicBezTo>
                      <a:pt x="1242483" y="404283"/>
                      <a:pt x="1308100" y="277283"/>
                      <a:pt x="1384300" y="228600"/>
                    </a:cubicBezTo>
                    <a:cubicBezTo>
                      <a:pt x="1460500" y="179917"/>
                      <a:pt x="1574800" y="226483"/>
                      <a:pt x="1638300" y="304800"/>
                    </a:cubicBezTo>
                    <a:cubicBezTo>
                      <a:pt x="1701800" y="383117"/>
                      <a:pt x="1720850" y="539750"/>
                      <a:pt x="1765300" y="698500"/>
                    </a:cubicBezTo>
                    <a:cubicBezTo>
                      <a:pt x="1809750" y="857250"/>
                      <a:pt x="1837267" y="1123950"/>
                      <a:pt x="1905000" y="1257300"/>
                    </a:cubicBezTo>
                    <a:cubicBezTo>
                      <a:pt x="1972733" y="1390650"/>
                      <a:pt x="2089150" y="1490133"/>
                      <a:pt x="2171700" y="1498600"/>
                    </a:cubicBezTo>
                    <a:cubicBezTo>
                      <a:pt x="2254250" y="1507067"/>
                      <a:pt x="2334683" y="1507067"/>
                      <a:pt x="2400300" y="1308100"/>
                    </a:cubicBezTo>
                    <a:cubicBezTo>
                      <a:pt x="2465917" y="1109133"/>
                      <a:pt x="2499783" y="510117"/>
                      <a:pt x="2565400" y="304800"/>
                    </a:cubicBezTo>
                    <a:cubicBezTo>
                      <a:pt x="2631017" y="99483"/>
                      <a:pt x="2717800" y="65617"/>
                      <a:pt x="2794000" y="76200"/>
                    </a:cubicBezTo>
                    <a:cubicBezTo>
                      <a:pt x="2870200" y="86783"/>
                      <a:pt x="2963333" y="226483"/>
                      <a:pt x="3022600" y="368300"/>
                    </a:cubicBezTo>
                    <a:cubicBezTo>
                      <a:pt x="3081867" y="510117"/>
                      <a:pt x="3107267" y="753533"/>
                      <a:pt x="3149600" y="927100"/>
                    </a:cubicBezTo>
                    <a:cubicBezTo>
                      <a:pt x="3191933" y="1100667"/>
                      <a:pt x="3215217" y="1314450"/>
                      <a:pt x="3276600" y="1409700"/>
                    </a:cubicBezTo>
                    <a:cubicBezTo>
                      <a:pt x="3337983" y="1504950"/>
                      <a:pt x="3443817" y="1532467"/>
                      <a:pt x="3517900" y="1498600"/>
                    </a:cubicBezTo>
                    <a:cubicBezTo>
                      <a:pt x="3591983" y="1464733"/>
                      <a:pt x="3659717" y="1426633"/>
                      <a:pt x="3721100" y="1206500"/>
                    </a:cubicBezTo>
                    <a:cubicBezTo>
                      <a:pt x="3782483" y="986367"/>
                      <a:pt x="3816350" y="355600"/>
                      <a:pt x="3886200" y="177800"/>
                    </a:cubicBezTo>
                    <a:cubicBezTo>
                      <a:pt x="3956050" y="0"/>
                      <a:pt x="4072467" y="95250"/>
                      <a:pt x="4140200" y="139700"/>
                    </a:cubicBezTo>
                    <a:cubicBezTo>
                      <a:pt x="4207933" y="184150"/>
                      <a:pt x="4235450" y="277283"/>
                      <a:pt x="4292600" y="444500"/>
                    </a:cubicBezTo>
                    <a:cubicBezTo>
                      <a:pt x="4349750" y="611717"/>
                      <a:pt x="4415367" y="984250"/>
                      <a:pt x="4483100" y="1143000"/>
                    </a:cubicBezTo>
                    <a:cubicBezTo>
                      <a:pt x="4550833" y="1301750"/>
                      <a:pt x="4624916" y="1349375"/>
                      <a:pt x="4699000" y="1397000"/>
                    </a:cubicBez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>
                  <a:spcAft>
                    <a:spcPct val="50000"/>
                  </a:spcAft>
                </a:pPr>
                <a:endParaRPr lang="en-US" sz="1200">
                  <a:solidFill>
                    <a:srgbClr val="0096D6"/>
                  </a:solidFill>
                </a:endParaRPr>
              </a:p>
            </p:txBody>
          </p:sp>
          <p:cxnSp>
            <p:nvCxnSpPr>
              <p:cNvPr id="569425" name="Straight Connector 14"/>
              <p:cNvCxnSpPr>
                <a:cxnSpLocks noChangeShapeType="1"/>
              </p:cNvCxnSpPr>
              <p:nvPr/>
            </p:nvCxnSpPr>
            <p:spPr bwMode="auto">
              <a:xfrm flipV="1">
                <a:off x="2362200" y="4419600"/>
                <a:ext cx="3886200" cy="3048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6" name="Straight Connector 15"/>
              <p:cNvCxnSpPr>
                <a:cxnSpLocks noChangeShapeType="1"/>
              </p:cNvCxnSpPr>
              <p:nvPr/>
            </p:nvCxnSpPr>
            <p:spPr bwMode="auto">
              <a:xfrm flipV="1">
                <a:off x="2362200" y="4876800"/>
                <a:ext cx="4038600" cy="3048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7" name="Straight Connector 16"/>
              <p:cNvCxnSpPr>
                <a:cxnSpLocks noChangeShapeType="1"/>
              </p:cNvCxnSpPr>
              <p:nvPr/>
            </p:nvCxnSpPr>
            <p:spPr bwMode="auto">
              <a:xfrm flipV="1">
                <a:off x="2514600" y="5334000"/>
                <a:ext cx="3886200" cy="3048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</p:grpSp>
        <p:grpSp>
          <p:nvGrpSpPr>
            <p:cNvPr id="569405" name="Group 52"/>
            <p:cNvGrpSpPr>
              <a:grpSpLocks/>
            </p:cNvGrpSpPr>
            <p:nvPr/>
          </p:nvGrpSpPr>
          <p:grpSpPr bwMode="auto">
            <a:xfrm>
              <a:off x="4830055" y="3811730"/>
              <a:ext cx="806871" cy="709246"/>
              <a:chOff x="6108700" y="1600200"/>
              <a:chExt cx="2071758" cy="1981200"/>
            </a:xfrm>
          </p:grpSpPr>
          <p:sp>
            <p:nvSpPr>
              <p:cNvPr id="569417" name="Freeform 11"/>
              <p:cNvSpPr>
                <a:spLocks noChangeArrowheads="1"/>
              </p:cNvSpPr>
              <p:nvPr/>
            </p:nvSpPr>
            <p:spPr bwMode="auto">
              <a:xfrm>
                <a:off x="6415157" y="1600200"/>
                <a:ext cx="1765301" cy="1583266"/>
              </a:xfrm>
              <a:custGeom>
                <a:avLst/>
                <a:gdLst>
                  <a:gd name="T0" fmla="*/ 0 w 2743200"/>
                  <a:gd name="T1" fmla="*/ 370652 h 2948517"/>
                  <a:gd name="T2" fmla="*/ 27076 w 2743200"/>
                  <a:gd name="T3" fmla="*/ 293966 h 2948517"/>
                  <a:gd name="T4" fmla="*/ 74458 w 2743200"/>
                  <a:gd name="T5" fmla="*/ 286100 h 2948517"/>
                  <a:gd name="T6" fmla="*/ 118456 w 2743200"/>
                  <a:gd name="T7" fmla="*/ 356888 h 2948517"/>
                  <a:gd name="T8" fmla="*/ 142147 w 2743200"/>
                  <a:gd name="T9" fmla="*/ 431608 h 2948517"/>
                  <a:gd name="T10" fmla="*/ 189529 w 2743200"/>
                  <a:gd name="T11" fmla="*/ 455204 h 2948517"/>
                  <a:gd name="T12" fmla="*/ 226758 w 2743200"/>
                  <a:gd name="T13" fmla="*/ 423743 h 2948517"/>
                  <a:gd name="T14" fmla="*/ 270755 w 2743200"/>
                  <a:gd name="T15" fmla="*/ 278235 h 2948517"/>
                  <a:gd name="T16" fmla="*/ 324907 w 2743200"/>
                  <a:gd name="T17" fmla="*/ 59973 h 2948517"/>
                  <a:gd name="T18" fmla="*/ 385827 w 2743200"/>
                  <a:gd name="T19" fmla="*/ 54074 h 2948517"/>
                  <a:gd name="T20" fmla="*/ 460285 w 2743200"/>
                  <a:gd name="T21" fmla="*/ 384416 h 2948517"/>
                  <a:gd name="T22" fmla="*/ 490745 w 2743200"/>
                  <a:gd name="T23" fmla="*/ 445372 h 2948517"/>
                  <a:gd name="T24" fmla="*/ 558433 w 2743200"/>
                  <a:gd name="T25" fmla="*/ 439473 h 2948517"/>
                  <a:gd name="T26" fmla="*/ 585509 w 2743200"/>
                  <a:gd name="T27" fmla="*/ 350989 h 2948517"/>
                  <a:gd name="T28" fmla="*/ 612585 w 2743200"/>
                  <a:gd name="T29" fmla="*/ 274302 h 2948517"/>
                  <a:gd name="T30" fmla="*/ 676889 w 2743200"/>
                  <a:gd name="T31" fmla="*/ 266437 h 2948517"/>
                  <a:gd name="T32" fmla="*/ 700580 w 2743200"/>
                  <a:gd name="T33" fmla="*/ 313628 h 2948517"/>
                  <a:gd name="T34" fmla="*/ 731040 w 2743200"/>
                  <a:gd name="T35" fmla="*/ 390315 h 294851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743200"/>
                  <a:gd name="T55" fmla="*/ 0 h 2948517"/>
                  <a:gd name="T56" fmla="*/ 2743200 w 2743200"/>
                  <a:gd name="T57" fmla="*/ 2948517 h 294851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743200" h="2948517">
                    <a:moveTo>
                      <a:pt x="0" y="2393950"/>
                    </a:moveTo>
                    <a:cubicBezTo>
                      <a:pt x="27516" y="2191808"/>
                      <a:pt x="55033" y="1989667"/>
                      <a:pt x="101600" y="1898650"/>
                    </a:cubicBezTo>
                    <a:cubicBezTo>
                      <a:pt x="148167" y="1807633"/>
                      <a:pt x="222250" y="1780117"/>
                      <a:pt x="279400" y="1847850"/>
                    </a:cubicBezTo>
                    <a:cubicBezTo>
                      <a:pt x="336550" y="1915583"/>
                      <a:pt x="402167" y="2148417"/>
                      <a:pt x="444500" y="2305050"/>
                    </a:cubicBezTo>
                    <a:cubicBezTo>
                      <a:pt x="486833" y="2461683"/>
                      <a:pt x="488950" y="2681817"/>
                      <a:pt x="533400" y="2787650"/>
                    </a:cubicBezTo>
                    <a:cubicBezTo>
                      <a:pt x="577850" y="2893483"/>
                      <a:pt x="658283" y="2948517"/>
                      <a:pt x="711200" y="2940050"/>
                    </a:cubicBezTo>
                    <a:cubicBezTo>
                      <a:pt x="764117" y="2931583"/>
                      <a:pt x="800100" y="2927350"/>
                      <a:pt x="850900" y="2736850"/>
                    </a:cubicBezTo>
                    <a:cubicBezTo>
                      <a:pt x="901700" y="2546350"/>
                      <a:pt x="954617" y="2188633"/>
                      <a:pt x="1016000" y="1797050"/>
                    </a:cubicBezTo>
                    <a:cubicBezTo>
                      <a:pt x="1077383" y="1405467"/>
                      <a:pt x="1147233" y="628650"/>
                      <a:pt x="1219200" y="387350"/>
                    </a:cubicBezTo>
                    <a:cubicBezTo>
                      <a:pt x="1291167" y="146050"/>
                      <a:pt x="1363133" y="0"/>
                      <a:pt x="1447800" y="349250"/>
                    </a:cubicBezTo>
                    <a:cubicBezTo>
                      <a:pt x="1532467" y="698500"/>
                      <a:pt x="1661583" y="2061633"/>
                      <a:pt x="1727200" y="2482850"/>
                    </a:cubicBezTo>
                    <a:cubicBezTo>
                      <a:pt x="1792817" y="2904067"/>
                      <a:pt x="1780117" y="2817283"/>
                      <a:pt x="1841500" y="2876550"/>
                    </a:cubicBezTo>
                    <a:cubicBezTo>
                      <a:pt x="1902883" y="2935817"/>
                      <a:pt x="2036233" y="2940050"/>
                      <a:pt x="2095500" y="2838450"/>
                    </a:cubicBezTo>
                    <a:cubicBezTo>
                      <a:pt x="2154767" y="2736850"/>
                      <a:pt x="2163233" y="2444750"/>
                      <a:pt x="2197100" y="2266950"/>
                    </a:cubicBezTo>
                    <a:cubicBezTo>
                      <a:pt x="2230967" y="2089150"/>
                      <a:pt x="2241550" y="1862667"/>
                      <a:pt x="2298700" y="1771650"/>
                    </a:cubicBezTo>
                    <a:cubicBezTo>
                      <a:pt x="2355850" y="1680633"/>
                      <a:pt x="2484967" y="1678517"/>
                      <a:pt x="2540000" y="1720850"/>
                    </a:cubicBezTo>
                    <a:cubicBezTo>
                      <a:pt x="2595033" y="1763183"/>
                      <a:pt x="2595033" y="1892300"/>
                      <a:pt x="2628900" y="2025650"/>
                    </a:cubicBezTo>
                    <a:cubicBezTo>
                      <a:pt x="2662767" y="2159000"/>
                      <a:pt x="2743200" y="2520950"/>
                      <a:pt x="2743200" y="2520950"/>
                    </a:cubicBez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>
                  <a:spcAft>
                    <a:spcPct val="50000"/>
                  </a:spcAft>
                </a:pPr>
                <a:endParaRPr lang="en-US" sz="1200">
                  <a:solidFill>
                    <a:srgbClr val="0096D6"/>
                  </a:solidFill>
                </a:endParaRPr>
              </a:p>
            </p:txBody>
          </p:sp>
          <p:cxnSp>
            <p:nvCxnSpPr>
              <p:cNvPr id="569418" name="Straight Connector 17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032500" y="1828800"/>
                <a:ext cx="1447800" cy="12954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19" name="Straight Connector 20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375400" y="2628900"/>
                <a:ext cx="990600" cy="9144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0" name="Straight Connector 21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223000" y="2171700"/>
                <a:ext cx="1219200" cy="11430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1" name="Straight Connector 22"/>
              <p:cNvCxnSpPr>
                <a:cxnSpLocks noChangeShapeType="1"/>
              </p:cNvCxnSpPr>
              <p:nvPr/>
            </p:nvCxnSpPr>
            <p:spPr bwMode="auto">
              <a:xfrm rot="16200000" flipH="1">
                <a:off x="7404100" y="1752600"/>
                <a:ext cx="609600" cy="6096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2" name="Straight Connector 24"/>
              <p:cNvCxnSpPr>
                <a:cxnSpLocks noChangeShapeType="1"/>
              </p:cNvCxnSpPr>
              <p:nvPr/>
            </p:nvCxnSpPr>
            <p:spPr bwMode="auto">
              <a:xfrm rot="16200000" flipH="1">
                <a:off x="7404100" y="2133600"/>
                <a:ext cx="609600" cy="6096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69423" name="Straight Connector 25"/>
              <p:cNvCxnSpPr>
                <a:cxnSpLocks noChangeShapeType="1"/>
              </p:cNvCxnSpPr>
              <p:nvPr/>
            </p:nvCxnSpPr>
            <p:spPr bwMode="auto">
              <a:xfrm rot="16200000" flipH="1">
                <a:off x="7327900" y="2590800"/>
                <a:ext cx="609600" cy="609600"/>
              </a:xfrm>
              <a:prstGeom prst="line">
                <a:avLst/>
              </a:prstGeom>
              <a:noFill/>
              <a:ln w="9525" algn="ctr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</p:grpSp>
        <p:sp>
          <p:nvSpPr>
            <p:cNvPr id="569406" name="Freeform 42"/>
            <p:cNvSpPr>
              <a:spLocks noChangeArrowheads="1"/>
            </p:cNvSpPr>
            <p:nvPr/>
          </p:nvSpPr>
          <p:spPr bwMode="auto">
            <a:xfrm flipH="1">
              <a:off x="4819518" y="4678235"/>
              <a:ext cx="600685" cy="593830"/>
            </a:xfrm>
            <a:custGeom>
              <a:avLst/>
              <a:gdLst>
                <a:gd name="T0" fmla="*/ 0 w 1130300"/>
                <a:gd name="T1" fmla="*/ 557599 h 1422400"/>
                <a:gd name="T2" fmla="*/ 26775 w 1130300"/>
                <a:gd name="T3" fmla="*/ 446256 h 1422400"/>
                <a:gd name="T4" fmla="*/ 65024 w 1130300"/>
                <a:gd name="T5" fmla="*/ 59206 h 1422400"/>
                <a:gd name="T6" fmla="*/ 118573 w 1130300"/>
                <a:gd name="T7" fmla="*/ 91019 h 1422400"/>
                <a:gd name="T8" fmla="*/ 149173 w 1130300"/>
                <a:gd name="T9" fmla="*/ 515183 h 1422400"/>
                <a:gd name="T10" fmla="*/ 191248 w 1130300"/>
                <a:gd name="T11" fmla="*/ 562902 h 1422400"/>
                <a:gd name="T12" fmla="*/ 218022 w 1130300"/>
                <a:gd name="T13" fmla="*/ 488673 h 1422400"/>
                <a:gd name="T14" fmla="*/ 233322 w 1130300"/>
                <a:gd name="T15" fmla="*/ 499277 h 1422400"/>
                <a:gd name="T16" fmla="*/ 252447 w 1130300"/>
                <a:gd name="T17" fmla="*/ 568204 h 1422400"/>
                <a:gd name="T18" fmla="*/ 275397 w 1130300"/>
                <a:gd name="T19" fmla="*/ 568204 h 1422400"/>
                <a:gd name="T20" fmla="*/ 286872 w 1130300"/>
                <a:gd name="T21" fmla="*/ 488673 h 1422400"/>
                <a:gd name="T22" fmla="*/ 321297 w 1130300"/>
                <a:gd name="T23" fmla="*/ 488673 h 1422400"/>
                <a:gd name="T24" fmla="*/ 340421 w 1130300"/>
                <a:gd name="T25" fmla="*/ 568204 h 14224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30300"/>
                <a:gd name="T40" fmla="*/ 0 h 1422400"/>
                <a:gd name="T41" fmla="*/ 1130300 w 1130300"/>
                <a:gd name="T42" fmla="*/ 1422400 h 14224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30300" h="1422400">
                  <a:moveTo>
                    <a:pt x="0" y="1335617"/>
                  </a:moveTo>
                  <a:cubicBezTo>
                    <a:pt x="26458" y="1301750"/>
                    <a:pt x="52917" y="1267884"/>
                    <a:pt x="88900" y="1068917"/>
                  </a:cubicBezTo>
                  <a:cubicBezTo>
                    <a:pt x="124883" y="869950"/>
                    <a:pt x="165100" y="283634"/>
                    <a:pt x="215900" y="141817"/>
                  </a:cubicBezTo>
                  <a:cubicBezTo>
                    <a:pt x="266700" y="0"/>
                    <a:pt x="347133" y="35984"/>
                    <a:pt x="393700" y="218017"/>
                  </a:cubicBezTo>
                  <a:cubicBezTo>
                    <a:pt x="440267" y="400050"/>
                    <a:pt x="455083" y="1045634"/>
                    <a:pt x="495300" y="1234017"/>
                  </a:cubicBezTo>
                  <a:cubicBezTo>
                    <a:pt x="535517" y="1422400"/>
                    <a:pt x="596900" y="1358900"/>
                    <a:pt x="635000" y="1348317"/>
                  </a:cubicBezTo>
                  <a:cubicBezTo>
                    <a:pt x="673100" y="1337734"/>
                    <a:pt x="700617" y="1195917"/>
                    <a:pt x="723900" y="1170517"/>
                  </a:cubicBezTo>
                  <a:cubicBezTo>
                    <a:pt x="747183" y="1145117"/>
                    <a:pt x="755650" y="1164167"/>
                    <a:pt x="774700" y="1195917"/>
                  </a:cubicBezTo>
                  <a:cubicBezTo>
                    <a:pt x="793750" y="1227667"/>
                    <a:pt x="814917" y="1333500"/>
                    <a:pt x="838200" y="1361017"/>
                  </a:cubicBezTo>
                  <a:cubicBezTo>
                    <a:pt x="861483" y="1388534"/>
                    <a:pt x="895350" y="1392767"/>
                    <a:pt x="914400" y="1361017"/>
                  </a:cubicBezTo>
                  <a:cubicBezTo>
                    <a:pt x="933450" y="1329267"/>
                    <a:pt x="927100" y="1202267"/>
                    <a:pt x="952500" y="1170517"/>
                  </a:cubicBezTo>
                  <a:cubicBezTo>
                    <a:pt x="977900" y="1138767"/>
                    <a:pt x="1037167" y="1138767"/>
                    <a:pt x="1066800" y="1170517"/>
                  </a:cubicBezTo>
                  <a:cubicBezTo>
                    <a:pt x="1096433" y="1202267"/>
                    <a:pt x="1113366" y="1281642"/>
                    <a:pt x="1130300" y="1361017"/>
                  </a:cubicBezTo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45720" rIns="45720" anchor="ctr"/>
            <a:lstStyle/>
            <a:p>
              <a:pPr>
                <a:spcAft>
                  <a:spcPct val="50000"/>
                </a:spcAft>
              </a:pPr>
              <a:endParaRPr lang="en-US" sz="1200">
                <a:solidFill>
                  <a:srgbClr val="0096D6"/>
                </a:solidFill>
              </a:endParaRPr>
            </a:p>
          </p:txBody>
        </p:sp>
        <p:sp>
          <p:nvSpPr>
            <p:cNvPr id="569407" name="Freeform 51"/>
            <p:cNvSpPr>
              <a:spLocks noChangeArrowheads="1"/>
            </p:cNvSpPr>
            <p:nvPr/>
          </p:nvSpPr>
          <p:spPr bwMode="auto">
            <a:xfrm>
              <a:off x="3838720" y="3849277"/>
              <a:ext cx="862504" cy="630934"/>
            </a:xfrm>
            <a:custGeom>
              <a:avLst/>
              <a:gdLst>
                <a:gd name="T0" fmla="*/ 0 w 1422400"/>
                <a:gd name="T1" fmla="*/ 587460 h 1481667"/>
                <a:gd name="T2" fmla="*/ 69308 w 1422400"/>
                <a:gd name="T3" fmla="*/ 463120 h 1481667"/>
                <a:gd name="T4" fmla="*/ 146318 w 1422400"/>
                <a:gd name="T5" fmla="*/ 587460 h 1481667"/>
                <a:gd name="T6" fmla="*/ 192523 w 1422400"/>
                <a:gd name="T7" fmla="*/ 576647 h 1481667"/>
                <a:gd name="T8" fmla="*/ 231028 w 1422400"/>
                <a:gd name="T9" fmla="*/ 463120 h 1481667"/>
                <a:gd name="T10" fmla="*/ 277233 w 1422400"/>
                <a:gd name="T11" fmla="*/ 500963 h 1481667"/>
                <a:gd name="T12" fmla="*/ 331140 w 1422400"/>
                <a:gd name="T13" fmla="*/ 598272 h 1481667"/>
                <a:gd name="T14" fmla="*/ 369645 w 1422400"/>
                <a:gd name="T15" fmla="*/ 582054 h 1481667"/>
                <a:gd name="T16" fmla="*/ 446654 w 1422400"/>
                <a:gd name="T17" fmla="*/ 306344 h 1481667"/>
                <a:gd name="T18" fmla="*/ 500560 w 1422400"/>
                <a:gd name="T19" fmla="*/ 57665 h 1481667"/>
                <a:gd name="T20" fmla="*/ 562168 w 1422400"/>
                <a:gd name="T21" fmla="*/ 36041 h 1481667"/>
                <a:gd name="T22" fmla="*/ 608373 w 1422400"/>
                <a:gd name="T23" fmla="*/ 133350 h 1481667"/>
                <a:gd name="T24" fmla="*/ 654579 w 1422400"/>
                <a:gd name="T25" fmla="*/ 127944 h 1481667"/>
                <a:gd name="T26" fmla="*/ 677682 w 1422400"/>
                <a:gd name="T27" fmla="*/ 19822 h 1481667"/>
                <a:gd name="T28" fmla="*/ 746990 w 1422400"/>
                <a:gd name="T29" fmla="*/ 19822 h 1481667"/>
                <a:gd name="T30" fmla="*/ 793196 w 1422400"/>
                <a:gd name="T31" fmla="*/ 138756 h 1481667"/>
                <a:gd name="T32" fmla="*/ 839401 w 1422400"/>
                <a:gd name="T33" fmla="*/ 138756 h 1481667"/>
                <a:gd name="T34" fmla="*/ 839401 w 1422400"/>
                <a:gd name="T35" fmla="*/ 106320 h 1481667"/>
                <a:gd name="T36" fmla="*/ 862504 w 1422400"/>
                <a:gd name="T37" fmla="*/ 25229 h 148166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2400"/>
                <a:gd name="T58" fmla="*/ 0 h 1481667"/>
                <a:gd name="T59" fmla="*/ 1422400 w 1422400"/>
                <a:gd name="T60" fmla="*/ 1481667 h 148166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2400" h="1481667">
                  <a:moveTo>
                    <a:pt x="0" y="1380067"/>
                  </a:moveTo>
                  <a:cubicBezTo>
                    <a:pt x="37041" y="1234017"/>
                    <a:pt x="74083" y="1087967"/>
                    <a:pt x="114300" y="1087967"/>
                  </a:cubicBezTo>
                  <a:cubicBezTo>
                    <a:pt x="154517" y="1087967"/>
                    <a:pt x="207433" y="1335617"/>
                    <a:pt x="241300" y="1380067"/>
                  </a:cubicBezTo>
                  <a:cubicBezTo>
                    <a:pt x="275167" y="1424517"/>
                    <a:pt x="294217" y="1403350"/>
                    <a:pt x="317500" y="1354667"/>
                  </a:cubicBezTo>
                  <a:cubicBezTo>
                    <a:pt x="340783" y="1305984"/>
                    <a:pt x="357717" y="1117600"/>
                    <a:pt x="381000" y="1087967"/>
                  </a:cubicBezTo>
                  <a:cubicBezTo>
                    <a:pt x="404283" y="1058334"/>
                    <a:pt x="429683" y="1123950"/>
                    <a:pt x="457200" y="1176867"/>
                  </a:cubicBezTo>
                  <a:cubicBezTo>
                    <a:pt x="484717" y="1229784"/>
                    <a:pt x="520700" y="1373717"/>
                    <a:pt x="546100" y="1405467"/>
                  </a:cubicBezTo>
                  <a:cubicBezTo>
                    <a:pt x="571500" y="1437217"/>
                    <a:pt x="577850" y="1481667"/>
                    <a:pt x="609600" y="1367367"/>
                  </a:cubicBezTo>
                  <a:cubicBezTo>
                    <a:pt x="641350" y="1253067"/>
                    <a:pt x="700617" y="924984"/>
                    <a:pt x="736600" y="719667"/>
                  </a:cubicBezTo>
                  <a:cubicBezTo>
                    <a:pt x="772583" y="514350"/>
                    <a:pt x="793750" y="241300"/>
                    <a:pt x="825500" y="135467"/>
                  </a:cubicBezTo>
                  <a:cubicBezTo>
                    <a:pt x="857250" y="29634"/>
                    <a:pt x="897467" y="55034"/>
                    <a:pt x="927100" y="84667"/>
                  </a:cubicBezTo>
                  <a:cubicBezTo>
                    <a:pt x="956733" y="114300"/>
                    <a:pt x="977900" y="277284"/>
                    <a:pt x="1003300" y="313267"/>
                  </a:cubicBezTo>
                  <a:cubicBezTo>
                    <a:pt x="1028700" y="349250"/>
                    <a:pt x="1060450" y="345017"/>
                    <a:pt x="1079500" y="300567"/>
                  </a:cubicBezTo>
                  <a:cubicBezTo>
                    <a:pt x="1098550" y="256117"/>
                    <a:pt x="1092200" y="88900"/>
                    <a:pt x="1117600" y="46567"/>
                  </a:cubicBezTo>
                  <a:cubicBezTo>
                    <a:pt x="1143000" y="4234"/>
                    <a:pt x="1200150" y="0"/>
                    <a:pt x="1231900" y="46567"/>
                  </a:cubicBezTo>
                  <a:cubicBezTo>
                    <a:pt x="1263650" y="93134"/>
                    <a:pt x="1282700" y="279400"/>
                    <a:pt x="1308100" y="325967"/>
                  </a:cubicBezTo>
                  <a:cubicBezTo>
                    <a:pt x="1333500" y="372534"/>
                    <a:pt x="1371600" y="338667"/>
                    <a:pt x="1384300" y="325967"/>
                  </a:cubicBezTo>
                  <a:cubicBezTo>
                    <a:pt x="1397000" y="313267"/>
                    <a:pt x="1377950" y="294217"/>
                    <a:pt x="1384300" y="249767"/>
                  </a:cubicBezTo>
                  <a:cubicBezTo>
                    <a:pt x="1390650" y="205317"/>
                    <a:pt x="1406525" y="132292"/>
                    <a:pt x="1422400" y="59267"/>
                  </a:cubicBezTo>
                </a:path>
              </a:pathLst>
            </a:custGeom>
            <a:solidFill>
              <a:schemeClr val="bg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45720" rIns="45720" anchor="ctr"/>
            <a:lstStyle/>
            <a:p>
              <a:pPr>
                <a:spcAft>
                  <a:spcPct val="50000"/>
                </a:spcAft>
              </a:pPr>
              <a:endParaRPr lang="en-US" sz="1200">
                <a:solidFill>
                  <a:srgbClr val="0096D6"/>
                </a:solidFill>
              </a:endParaRPr>
            </a:p>
          </p:txBody>
        </p:sp>
        <p:sp>
          <p:nvSpPr>
            <p:cNvPr id="569408" name="TextBox 32"/>
            <p:cNvSpPr txBox="1">
              <a:spLocks noChangeArrowheads="1"/>
            </p:cNvSpPr>
            <p:nvPr/>
          </p:nvSpPr>
          <p:spPr bwMode="auto">
            <a:xfrm>
              <a:off x="4015431" y="3310063"/>
              <a:ext cx="164019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 u="sng">
                  <a:solidFill>
                    <a:srgbClr val="FFFFFF"/>
                  </a:solidFill>
                  <a:cs typeface="Arial" charset="0"/>
                </a:rPr>
                <a:t>Individual Demands</a:t>
              </a:r>
            </a:p>
          </p:txBody>
        </p:sp>
        <p:sp>
          <p:nvSpPr>
            <p:cNvPr id="569409" name="TextBox 36"/>
            <p:cNvSpPr txBox="1">
              <a:spLocks noChangeArrowheads="1"/>
            </p:cNvSpPr>
            <p:nvPr/>
          </p:nvSpPr>
          <p:spPr bwMode="auto">
            <a:xfrm>
              <a:off x="3247869" y="3587062"/>
              <a:ext cx="1174453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Large/ Disruptive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Jump in Demand</a:t>
              </a:r>
            </a:p>
          </p:txBody>
        </p:sp>
        <p:sp>
          <p:nvSpPr>
            <p:cNvPr id="569410" name="TextBox 37"/>
            <p:cNvSpPr txBox="1">
              <a:spLocks noChangeArrowheads="1"/>
            </p:cNvSpPr>
            <p:nvPr/>
          </p:nvSpPr>
          <p:spPr bwMode="auto">
            <a:xfrm>
              <a:off x="5609216" y="3752107"/>
              <a:ext cx="763351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Large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Demand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Peak</a:t>
              </a:r>
            </a:p>
          </p:txBody>
        </p:sp>
        <p:sp>
          <p:nvSpPr>
            <p:cNvPr id="569411" name="TextBox 38"/>
            <p:cNvSpPr txBox="1">
              <a:spLocks noChangeArrowheads="1"/>
            </p:cNvSpPr>
            <p:nvPr/>
          </p:nvSpPr>
          <p:spPr bwMode="auto">
            <a:xfrm>
              <a:off x="3294345" y="5244824"/>
              <a:ext cx="83067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Continual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Demand</a:t>
              </a:r>
            </a:p>
          </p:txBody>
        </p:sp>
        <p:sp>
          <p:nvSpPr>
            <p:cNvPr id="569412" name="TextBox 39"/>
            <p:cNvSpPr txBox="1">
              <a:spLocks noChangeArrowheads="1"/>
            </p:cNvSpPr>
            <p:nvPr/>
          </p:nvSpPr>
          <p:spPr bwMode="auto">
            <a:xfrm>
              <a:off x="4143295" y="5258210"/>
              <a:ext cx="611065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Small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Peaks</a:t>
              </a:r>
            </a:p>
          </p:txBody>
        </p:sp>
        <p:sp>
          <p:nvSpPr>
            <p:cNvPr id="569413" name="TextBox 40"/>
            <p:cNvSpPr txBox="1">
              <a:spLocks noChangeArrowheads="1"/>
            </p:cNvSpPr>
            <p:nvPr/>
          </p:nvSpPr>
          <p:spPr bwMode="auto">
            <a:xfrm>
              <a:off x="5514593" y="4961295"/>
              <a:ext cx="76495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“Project”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One off</a:t>
              </a:r>
              <a:br>
                <a:rPr lang="en-US" sz="1200">
                  <a:solidFill>
                    <a:srgbClr val="0096D6"/>
                  </a:solidFill>
                  <a:cs typeface="Arial" charset="0"/>
                </a:rPr>
              </a:br>
              <a:r>
                <a:rPr lang="en-US" sz="1200">
                  <a:solidFill>
                    <a:srgbClr val="0096D6"/>
                  </a:solidFill>
                  <a:cs typeface="Arial" charset="0"/>
                </a:rPr>
                <a:t>Peaks</a:t>
              </a:r>
            </a:p>
          </p:txBody>
        </p:sp>
        <p:cxnSp>
          <p:nvCxnSpPr>
            <p:cNvPr id="44" name="Straight Connector 43"/>
            <p:cNvCxnSpPr/>
            <p:nvPr/>
          </p:nvCxnSpPr>
          <p:spPr>
            <a:xfrm>
              <a:off x="3293914" y="4535592"/>
              <a:ext cx="298497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4754647" y="3627558"/>
              <a:ext cx="0" cy="213991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/>
            <p:cNvSpPr/>
            <p:nvPr/>
          </p:nvSpPr>
          <p:spPr bwMode="auto">
            <a:xfrm>
              <a:off x="3247869" y="3586283"/>
              <a:ext cx="3124698" cy="218118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569348" name="TextBox 61"/>
          <p:cNvSpPr txBox="1">
            <a:spLocks noChangeArrowheads="1"/>
          </p:cNvSpPr>
          <p:nvPr/>
        </p:nvSpPr>
        <p:spPr bwMode="auto">
          <a:xfrm>
            <a:off x="6991350" y="1731963"/>
            <a:ext cx="15208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 u="sng">
                <a:solidFill>
                  <a:srgbClr val="FFFFFF"/>
                </a:solidFill>
                <a:cs typeface="Arial" charset="0"/>
              </a:rPr>
              <a:t>Capacity Planning</a:t>
            </a:r>
          </a:p>
        </p:txBody>
      </p:sp>
      <p:graphicFrame>
        <p:nvGraphicFramePr>
          <p:cNvPr id="42" name="Diagram 41"/>
          <p:cNvGraphicFramePr/>
          <p:nvPr/>
        </p:nvGraphicFramePr>
        <p:xfrm>
          <a:off x="107245" y="2193290"/>
          <a:ext cx="2421799" cy="12569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69350" name="TextBox 42"/>
          <p:cNvSpPr txBox="1">
            <a:spLocks noChangeArrowheads="1"/>
          </p:cNvSpPr>
          <p:nvPr/>
        </p:nvSpPr>
        <p:spPr bwMode="auto">
          <a:xfrm>
            <a:off x="1588" y="1731963"/>
            <a:ext cx="26892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u="sng">
                <a:solidFill>
                  <a:srgbClr val="FFFFFF"/>
                </a:solidFill>
                <a:cs typeface="Arial" charset="0"/>
              </a:rPr>
              <a:t>Types of  Business Workloads</a:t>
            </a:r>
          </a:p>
        </p:txBody>
      </p:sp>
      <p:pic>
        <p:nvPicPr>
          <p:cNvPr id="569351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15900" y="3406775"/>
            <a:ext cx="2160588" cy="159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6529388" y="2233613"/>
          <a:ext cx="2458908" cy="1713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818"/>
                <a:gridCol w="409818"/>
                <a:gridCol w="409818"/>
                <a:gridCol w="409818"/>
                <a:gridCol w="409818"/>
                <a:gridCol w="409818"/>
              </a:tblGrid>
              <a:tr h="342636">
                <a:tc gridSpan="6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  <a:tr h="342636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  <a:tr h="342636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  <a:tr h="342636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  <a:tr h="342636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1" name="Right Arrow 20"/>
          <p:cNvSpPr/>
          <p:nvPr/>
        </p:nvSpPr>
        <p:spPr bwMode="auto">
          <a:xfrm>
            <a:off x="2495550" y="2709863"/>
            <a:ext cx="492125" cy="503237"/>
          </a:xfrm>
          <a:prstGeom prst="right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9" name="Right Arrow 48"/>
          <p:cNvSpPr/>
          <p:nvPr/>
        </p:nvSpPr>
        <p:spPr bwMode="auto">
          <a:xfrm>
            <a:off x="5768975" y="2709863"/>
            <a:ext cx="492125" cy="503237"/>
          </a:xfrm>
          <a:prstGeom prst="right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Up-Down Arrow 21"/>
          <p:cNvSpPr/>
          <p:nvPr/>
        </p:nvSpPr>
        <p:spPr bwMode="auto">
          <a:xfrm>
            <a:off x="4359275" y="2624138"/>
            <a:ext cx="419100" cy="674687"/>
          </a:xfrm>
          <a:prstGeom prst="upDownArrow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69394" name="TextBox 22"/>
          <p:cNvSpPr txBox="1">
            <a:spLocks noChangeArrowheads="1"/>
          </p:cNvSpPr>
          <p:nvPr/>
        </p:nvSpPr>
        <p:spPr bwMode="auto">
          <a:xfrm>
            <a:off x="6494463" y="4038600"/>
            <a:ext cx="264953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Understand the types of Demand profiles that the workload needs over time</a:t>
            </a:r>
          </a:p>
        </p:txBody>
      </p:sp>
      <p:sp>
        <p:nvSpPr>
          <p:cNvPr id="569395" name="TextBox 23"/>
          <p:cNvSpPr txBox="1">
            <a:spLocks noChangeArrowheads="1"/>
          </p:cNvSpPr>
          <p:nvPr/>
        </p:nvSpPr>
        <p:spPr bwMode="auto">
          <a:xfrm rot="-5400000">
            <a:off x="6525419" y="3042444"/>
            <a:ext cx="4651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Day</a:t>
            </a:r>
          </a:p>
        </p:txBody>
      </p:sp>
      <p:sp>
        <p:nvSpPr>
          <p:cNvPr id="569396" name="TextBox 53"/>
          <p:cNvSpPr txBox="1">
            <a:spLocks noChangeArrowheads="1"/>
          </p:cNvSpPr>
          <p:nvPr/>
        </p:nvSpPr>
        <p:spPr bwMode="auto">
          <a:xfrm rot="-5400000">
            <a:off x="5789613" y="2917825"/>
            <a:ext cx="12033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rgbClr val="FFFFFF"/>
                </a:solidFill>
                <a:cs typeface="Arial" charset="0"/>
              </a:rPr>
              <a:t>Workload Type</a:t>
            </a:r>
          </a:p>
        </p:txBody>
      </p:sp>
      <p:sp>
        <p:nvSpPr>
          <p:cNvPr id="569397" name="TextBox 24"/>
          <p:cNvSpPr txBox="1">
            <a:spLocks noChangeArrowheads="1"/>
          </p:cNvSpPr>
          <p:nvPr/>
        </p:nvSpPr>
        <p:spPr bwMode="auto">
          <a:xfrm rot="-5400000">
            <a:off x="6819900" y="3028950"/>
            <a:ext cx="5826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Week</a:t>
            </a:r>
          </a:p>
        </p:txBody>
      </p:sp>
      <p:sp>
        <p:nvSpPr>
          <p:cNvPr id="569398" name="TextBox 54"/>
          <p:cNvSpPr txBox="1">
            <a:spLocks noChangeArrowheads="1"/>
          </p:cNvSpPr>
          <p:nvPr/>
        </p:nvSpPr>
        <p:spPr bwMode="auto">
          <a:xfrm rot="-5400000">
            <a:off x="7251701" y="3017837"/>
            <a:ext cx="6477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Month</a:t>
            </a:r>
          </a:p>
        </p:txBody>
      </p:sp>
      <p:sp>
        <p:nvSpPr>
          <p:cNvPr id="569399" name="TextBox 62"/>
          <p:cNvSpPr txBox="1">
            <a:spLocks noChangeArrowheads="1"/>
          </p:cNvSpPr>
          <p:nvPr/>
        </p:nvSpPr>
        <p:spPr bwMode="auto">
          <a:xfrm rot="-5400000">
            <a:off x="7617619" y="2993231"/>
            <a:ext cx="7381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Quarter</a:t>
            </a:r>
          </a:p>
        </p:txBody>
      </p:sp>
      <p:sp>
        <p:nvSpPr>
          <p:cNvPr id="569400" name="TextBox 63"/>
          <p:cNvSpPr txBox="1">
            <a:spLocks noChangeArrowheads="1"/>
          </p:cNvSpPr>
          <p:nvPr/>
        </p:nvSpPr>
        <p:spPr bwMode="auto">
          <a:xfrm rot="-5400000">
            <a:off x="8139113" y="2987675"/>
            <a:ext cx="5080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Year</a:t>
            </a:r>
          </a:p>
        </p:txBody>
      </p:sp>
      <p:sp>
        <p:nvSpPr>
          <p:cNvPr id="569401" name="TextBox 64"/>
          <p:cNvSpPr txBox="1">
            <a:spLocks noChangeArrowheads="1"/>
          </p:cNvSpPr>
          <p:nvPr/>
        </p:nvSpPr>
        <p:spPr bwMode="auto">
          <a:xfrm rot="-5400000">
            <a:off x="8112919" y="3115469"/>
            <a:ext cx="1312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b="1">
                <a:solidFill>
                  <a:srgbClr val="0096D6"/>
                </a:solidFill>
                <a:cs typeface="Arial" charset="0"/>
              </a:rPr>
              <a:t>Rate of Chang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85000" y="2263775"/>
            <a:ext cx="1701800" cy="2778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Time scale Demands</a:t>
            </a:r>
          </a:p>
        </p:txBody>
      </p:sp>
      <p:sp>
        <p:nvSpPr>
          <p:cNvPr id="569403" name="TextBox 55"/>
          <p:cNvSpPr txBox="1">
            <a:spLocks noChangeArrowheads="1"/>
          </p:cNvSpPr>
          <p:nvPr/>
        </p:nvSpPr>
        <p:spPr bwMode="auto">
          <a:xfrm>
            <a:off x="344488" y="5973763"/>
            <a:ext cx="8455025" cy="5842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 i="1">
                <a:solidFill>
                  <a:srgbClr val="080808"/>
                </a:solidFill>
              </a:rPr>
              <a:t>In determining Supply, determine where the services lies among </a:t>
            </a:r>
          </a:p>
          <a:p>
            <a:pPr algn="ctr"/>
            <a:r>
              <a:rPr lang="en-US" sz="1600" b="1" i="1">
                <a:solidFill>
                  <a:srgbClr val="080808"/>
                </a:solidFill>
              </a:rPr>
              <a:t>the realm of ‘Consistent Availability’ and Rapid Availability’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53834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Financial MT Considerations</a:t>
            </a:r>
          </a:p>
        </p:txBody>
      </p:sp>
      <p:sp>
        <p:nvSpPr>
          <p:cNvPr id="571394" name="Content Placeholder 2"/>
          <p:cNvSpPr>
            <a:spLocks noGrp="1"/>
          </p:cNvSpPr>
          <p:nvPr>
            <p:ph idx="1"/>
          </p:nvPr>
        </p:nvSpPr>
        <p:spPr>
          <a:xfrm>
            <a:off x="273050" y="923925"/>
            <a:ext cx="8675688" cy="4921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sz="1800" b="1"/>
              <a:t>Financial considerations for Multi-Tenancy require higher upfront investment, longer cost recovery, and internal billing strategy</a:t>
            </a:r>
            <a:endParaRPr b="1"/>
          </a:p>
        </p:txBody>
      </p:sp>
      <p:pic>
        <p:nvPicPr>
          <p:cNvPr id="57139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1738" y="149225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2" name="Table 31"/>
          <p:cNvGraphicFramePr>
            <a:graphicFrameLocks noGrp="1"/>
          </p:cNvGraphicFramePr>
          <p:nvPr/>
        </p:nvGraphicFramePr>
        <p:xfrm>
          <a:off x="347663" y="2352675"/>
          <a:ext cx="8602719" cy="40293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286110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Anticipating future customers will lead to higher upfront development costs thus an increased initial investment requirement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t recovering investments cost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nalyze the total cost of ownership as well as model the revenue stream(s) to dictate the initial funding requirements and the future chargeback model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35495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Elongated break even with higher ROI potential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Initial funding to cover development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9BCC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Secure initial and ongoing funding by aligning stakeholders behind the solution; redefine funding models to allow for centralized funding of MT initiative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13455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Varied charge-back model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ransparent allocation method (for negotiation among multiple stakeholders) based on some level of activity based costing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nduct initial and ongoing market benchmarking to measure appropriateness of investment and ongoing process performance (KPIs)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" name="Group 32"/>
          <p:cNvGrpSpPr/>
          <p:nvPr/>
        </p:nvGrpSpPr>
        <p:grpSpPr>
          <a:xfrm>
            <a:off x="2891705" y="2801914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34" name="Right Arrow 33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6" name="Group 35"/>
          <p:cNvGrpSpPr/>
          <p:nvPr/>
        </p:nvGrpSpPr>
        <p:grpSpPr>
          <a:xfrm>
            <a:off x="2891705" y="4160699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37" name="Right Arrow 36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7" name="Group 38"/>
          <p:cNvGrpSpPr/>
          <p:nvPr/>
        </p:nvGrpSpPr>
        <p:grpSpPr>
          <a:xfrm>
            <a:off x="2891705" y="5509670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40" name="Right Arrow 39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8" name="Group 41"/>
          <p:cNvGrpSpPr/>
          <p:nvPr/>
        </p:nvGrpSpPr>
        <p:grpSpPr>
          <a:xfrm>
            <a:off x="5845516" y="2801914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43" name="Right Arrow 4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9" name="Group 44"/>
          <p:cNvGrpSpPr/>
          <p:nvPr/>
        </p:nvGrpSpPr>
        <p:grpSpPr>
          <a:xfrm>
            <a:off x="5845516" y="4160699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46" name="Right Arrow 4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10" name="Group 47"/>
          <p:cNvGrpSpPr/>
          <p:nvPr/>
        </p:nvGrpSpPr>
        <p:grpSpPr>
          <a:xfrm>
            <a:off x="5845516" y="5509670"/>
            <a:ext cx="339494" cy="397144"/>
            <a:chOff x="1766887" y="604467"/>
            <a:chExt cx="339494" cy="397144"/>
          </a:xfrm>
          <a:solidFill>
            <a:schemeClr val="accent2"/>
          </a:solidFill>
        </p:grpSpPr>
        <p:sp>
          <p:nvSpPr>
            <p:cNvPr id="49" name="Right Arrow 48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/>
            </a:p>
          </p:txBody>
        </p:sp>
      </p:grpSp>
      <p:grpSp>
        <p:nvGrpSpPr>
          <p:cNvPr id="33" name="Group 3"/>
          <p:cNvGrpSpPr>
            <a:grpSpLocks/>
          </p:cNvGrpSpPr>
          <p:nvPr/>
        </p:nvGrpSpPr>
        <p:grpSpPr bwMode="auto">
          <a:xfrm>
            <a:off x="309045" y="1587939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6" name="Rounded Rectangle 35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42" name="Group 3"/>
          <p:cNvGrpSpPr>
            <a:grpSpLocks/>
          </p:cNvGrpSpPr>
          <p:nvPr/>
        </p:nvGrpSpPr>
        <p:grpSpPr bwMode="auto">
          <a:xfrm>
            <a:off x="6285454" y="1587939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45" name="Rounded Rectangle 44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51" name="Group 50"/>
          <p:cNvGrpSpPr>
            <a:grpSpLocks/>
          </p:cNvGrpSpPr>
          <p:nvPr/>
        </p:nvGrpSpPr>
        <p:grpSpPr bwMode="auto">
          <a:xfrm>
            <a:off x="3268675" y="1587939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52" name="Rounded Rectangle 51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510631"/>
            <a:ext cx="8503920" cy="598841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Multi-Tenancy’s impact on funding / chargeback models</a:t>
            </a:r>
            <a:endParaRPr/>
          </a:p>
        </p:txBody>
      </p:sp>
      <p:sp>
        <p:nvSpPr>
          <p:cNvPr id="573442" name="TextBox 3"/>
          <p:cNvSpPr txBox="1">
            <a:spLocks noChangeArrowheads="1"/>
          </p:cNvSpPr>
          <p:nvPr/>
        </p:nvSpPr>
        <p:spPr bwMode="auto">
          <a:xfrm>
            <a:off x="1077913" y="1157288"/>
            <a:ext cx="1595437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  <a:cs typeface="Arial" charset="0"/>
              </a:rPr>
              <a:t>TRADITIONAL  IT SOLUTION</a:t>
            </a:r>
          </a:p>
        </p:txBody>
      </p:sp>
      <p:sp>
        <p:nvSpPr>
          <p:cNvPr id="573443" name="TextBox 4"/>
          <p:cNvSpPr txBox="1">
            <a:spLocks noChangeArrowheads="1"/>
          </p:cNvSpPr>
          <p:nvPr/>
        </p:nvSpPr>
        <p:spPr bwMode="auto">
          <a:xfrm>
            <a:off x="3860800" y="1182688"/>
            <a:ext cx="17399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>
                <a:solidFill>
                  <a:srgbClr val="FFFFFF"/>
                </a:solidFill>
                <a:cs typeface="Arial" charset="0"/>
              </a:rPr>
              <a:t>MULTI-TENANT IT SOLUTION</a:t>
            </a:r>
          </a:p>
        </p:txBody>
      </p:sp>
      <p:sp>
        <p:nvSpPr>
          <p:cNvPr id="6" name="Right Arrow 5"/>
          <p:cNvSpPr/>
          <p:nvPr/>
        </p:nvSpPr>
        <p:spPr>
          <a:xfrm>
            <a:off x="2882900" y="1295400"/>
            <a:ext cx="836613" cy="350838"/>
          </a:xfrm>
          <a:prstGeom prst="rightArrow">
            <a:avLst/>
          </a:prstGeom>
          <a:solidFill>
            <a:schemeClr val="tx1"/>
          </a:solidFill>
          <a:ln>
            <a:solidFill>
              <a:srgbClr val="08080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496050" y="2084388"/>
            <a:ext cx="1906588" cy="19383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u="sng" dirty="0">
                <a:solidFill>
                  <a:srgbClr val="FFFFFF"/>
                </a:solidFill>
                <a:latin typeface="+mn-lt"/>
                <a:cs typeface="Arial" pitchFamily="34" charset="0"/>
              </a:rPr>
              <a:t>Key Factors</a:t>
            </a:r>
          </a:p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mplicity</a:t>
            </a:r>
          </a:p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Fairness</a:t>
            </a:r>
          </a:p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Predictability</a:t>
            </a:r>
          </a:p>
          <a:p>
            <a:pPr algn="ctr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Controllability</a:t>
            </a:r>
          </a:p>
        </p:txBody>
      </p:sp>
      <p:sp>
        <p:nvSpPr>
          <p:cNvPr id="573446" name="TextBox 47"/>
          <p:cNvSpPr txBox="1">
            <a:spLocks noChangeArrowheads="1"/>
          </p:cNvSpPr>
          <p:nvPr/>
        </p:nvSpPr>
        <p:spPr bwMode="auto">
          <a:xfrm>
            <a:off x="6254750" y="5076825"/>
            <a:ext cx="2387600" cy="83026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i="1">
                <a:solidFill>
                  <a:srgbClr val="080808"/>
                </a:solidFill>
                <a:cs typeface="Arial" charset="0"/>
              </a:rPr>
              <a:t>Diligent  Demand / Supply Capacity Forecasting</a:t>
            </a:r>
          </a:p>
        </p:txBody>
      </p:sp>
      <p:sp>
        <p:nvSpPr>
          <p:cNvPr id="52" name="Up-Down Arrow 51"/>
          <p:cNvSpPr/>
          <p:nvPr/>
        </p:nvSpPr>
        <p:spPr>
          <a:xfrm>
            <a:off x="7158038" y="4148138"/>
            <a:ext cx="582612" cy="719137"/>
          </a:xfrm>
          <a:prstGeom prst="up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227138" y="1801813"/>
            <a:ext cx="1254125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Direct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ost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2644775" y="1801813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Measured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Resourc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Usage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4108450" y="1801813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Subscription/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Pay per Use</a:t>
            </a:r>
          </a:p>
        </p:txBody>
      </p:sp>
      <p:cxnSp>
        <p:nvCxnSpPr>
          <p:cNvPr id="25" name="Straight Arrow Connector 24"/>
          <p:cNvCxnSpPr/>
          <p:nvPr/>
        </p:nvCxnSpPr>
        <p:spPr>
          <a:xfrm>
            <a:off x="2481263" y="2185988"/>
            <a:ext cx="163512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endCxn id="54" idx="1"/>
          </p:cNvCxnSpPr>
          <p:nvPr/>
        </p:nvCxnSpPr>
        <p:spPr>
          <a:xfrm>
            <a:off x="3897313" y="2185988"/>
            <a:ext cx="211137" cy="158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3453" name="TextBox 41"/>
          <p:cNvSpPr txBox="1">
            <a:spLocks noChangeArrowheads="1"/>
          </p:cNvSpPr>
          <p:nvPr/>
        </p:nvSpPr>
        <p:spPr bwMode="auto">
          <a:xfrm>
            <a:off x="7058025" y="6297613"/>
            <a:ext cx="177641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>
                <a:solidFill>
                  <a:srgbClr val="0096D6"/>
                </a:solidFill>
                <a:cs typeface="Arial" charset="0"/>
              </a:rPr>
              <a:t>Adapted from Gartner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227138" y="3681413"/>
            <a:ext cx="1254125" cy="76835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IT Domain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ost 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Allocation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2644775" y="3681413"/>
            <a:ext cx="1252538" cy="76835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Tiered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Flat Rate</a:t>
            </a:r>
          </a:p>
        </p:txBody>
      </p:sp>
      <p:sp>
        <p:nvSpPr>
          <p:cNvPr id="62" name="Rounded Rectangle 61"/>
          <p:cNvSpPr/>
          <p:nvPr/>
        </p:nvSpPr>
        <p:spPr>
          <a:xfrm>
            <a:off x="1227138" y="4643438"/>
            <a:ext cx="1254125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Bespok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IT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Pricing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2644775" y="4643438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IT Servic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atalog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Pricing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4108450" y="4643438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Market-based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Pricing</a:t>
            </a:r>
          </a:p>
        </p:txBody>
      </p:sp>
      <p:sp>
        <p:nvSpPr>
          <p:cNvPr id="65" name="Rounded Rectangle 64"/>
          <p:cNvSpPr/>
          <p:nvPr/>
        </p:nvSpPr>
        <p:spPr>
          <a:xfrm>
            <a:off x="1227138" y="2733675"/>
            <a:ext cx="1254125" cy="766763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Blanket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Allocation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2644775" y="2733675"/>
            <a:ext cx="1252538" cy="766763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Support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hargeback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4108450" y="2733675"/>
            <a:ext cx="1252538" cy="766763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Adhoc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hargeback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(Showback)</a:t>
            </a:r>
          </a:p>
        </p:txBody>
      </p:sp>
      <p:sp>
        <p:nvSpPr>
          <p:cNvPr id="68" name="Rounded Rectangle 67"/>
          <p:cNvSpPr/>
          <p:nvPr/>
        </p:nvSpPr>
        <p:spPr>
          <a:xfrm>
            <a:off x="4108450" y="3681413"/>
            <a:ext cx="1252538" cy="76835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Negotiated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Flat Rate</a:t>
            </a:r>
          </a:p>
        </p:txBody>
      </p:sp>
      <p:sp>
        <p:nvSpPr>
          <p:cNvPr id="69" name="Rounded Rectangle 68"/>
          <p:cNvSpPr/>
          <p:nvPr/>
        </p:nvSpPr>
        <p:spPr>
          <a:xfrm>
            <a:off x="1227138" y="5630863"/>
            <a:ext cx="1254125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Incentiv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Gainshar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Usage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2644775" y="5630863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Business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Outcome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Risk/Reward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4108450" y="5630863"/>
            <a:ext cx="1252538" cy="766762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Crowd</a:t>
            </a:r>
            <a:br>
              <a:rPr lang="en-US" sz="12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200" dirty="0">
                <a:solidFill>
                  <a:srgbClr val="FFFFFF"/>
                </a:solidFill>
                <a:cs typeface="Arial" pitchFamily="34" charset="0"/>
              </a:rPr>
              <a:t>Source Shared IP</a:t>
            </a:r>
          </a:p>
        </p:txBody>
      </p:sp>
      <p:sp>
        <p:nvSpPr>
          <p:cNvPr id="573466" name="Rectangle 28"/>
          <p:cNvSpPr>
            <a:spLocks noChangeArrowheads="1"/>
          </p:cNvSpPr>
          <p:nvPr/>
        </p:nvSpPr>
        <p:spPr bwMode="auto">
          <a:xfrm rot="-5400000">
            <a:off x="3417094" y="3766344"/>
            <a:ext cx="45704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Full cost recovery from the 1st </a:t>
            </a:r>
            <a:r>
              <a:rPr lang="en-US" b="1">
                <a:solidFill>
                  <a:schemeClr val="bg1"/>
                </a:solidFill>
              </a:rPr>
              <a:t>tenant </a:t>
            </a:r>
          </a:p>
          <a:p>
            <a:pPr algn="ctr"/>
            <a:r>
              <a:rPr lang="en-US" b="1">
                <a:solidFill>
                  <a:schemeClr val="bg1"/>
                </a:solidFill>
              </a:rPr>
              <a:t>is </a:t>
            </a:r>
            <a:r>
              <a:rPr lang="en-US" b="1">
                <a:solidFill>
                  <a:srgbClr val="FFFFFF"/>
                </a:solidFill>
              </a:rPr>
              <a:t>not plausible</a:t>
            </a:r>
          </a:p>
        </p:txBody>
      </p:sp>
      <p:sp>
        <p:nvSpPr>
          <p:cNvPr id="573467" name="Right Brace 31"/>
          <p:cNvSpPr>
            <a:spLocks/>
          </p:cNvSpPr>
          <p:nvPr/>
        </p:nvSpPr>
        <p:spPr bwMode="auto">
          <a:xfrm>
            <a:off x="5654675" y="1728788"/>
            <a:ext cx="768350" cy="4760912"/>
          </a:xfrm>
          <a:prstGeom prst="rightBrace">
            <a:avLst>
              <a:gd name="adj1" fmla="val 8319"/>
              <a:gd name="adj2" fmla="val 50000"/>
            </a:avLst>
          </a:prstGeom>
          <a:noFill/>
          <a:ln w="158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en-US">
              <a:solidFill>
                <a:srgbClr val="0096D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514597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Technology MT Considerations</a:t>
            </a:r>
          </a:p>
        </p:txBody>
      </p:sp>
      <p:sp>
        <p:nvSpPr>
          <p:cNvPr id="575490" name="Content Placeholder 2"/>
          <p:cNvSpPr>
            <a:spLocks noGrp="1"/>
          </p:cNvSpPr>
          <p:nvPr>
            <p:ph idx="1"/>
          </p:nvPr>
        </p:nvSpPr>
        <p:spPr>
          <a:xfrm>
            <a:off x="273050" y="1050925"/>
            <a:ext cx="8870950" cy="1108075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sz="1800" b="1"/>
              <a:t>Technology considerations for Multi-Tenancy requires the design of a flexible and scalable architecture built on the concept of configuration &amp; integration vs. standalone stability</a:t>
            </a:r>
          </a:p>
          <a:p>
            <a:pPr marL="0" indent="0">
              <a:buFont typeface="Wingdings" pitchFamily="2" charset="2"/>
              <a:buNone/>
            </a:pPr>
            <a:endParaRPr sz="1800" b="1"/>
          </a:p>
        </p:txBody>
      </p:sp>
      <p:pic>
        <p:nvPicPr>
          <p:cNvPr id="57549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3325" y="46038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0904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4" name="Rounded Rectangle 23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85454" y="1662370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7" name="Rounded Rectangle 26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6867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0" name="Rounded Rectangle 29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  <p:graphicFrame>
        <p:nvGraphicFramePr>
          <p:cNvPr id="32" name="Table 31"/>
          <p:cNvGraphicFramePr>
            <a:graphicFrameLocks noGrp="1"/>
          </p:cNvGraphicFramePr>
          <p:nvPr/>
        </p:nvGraphicFramePr>
        <p:xfrm>
          <a:off x="347663" y="2565400"/>
          <a:ext cx="8602719" cy="3843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28133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Solution built as highly scalable (volume changes)</a:t>
                      </a:r>
                    </a:p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 smtClean="0">
                        <a:solidFill>
                          <a:schemeClr val="bg1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fficult to manage fluctuations in usage/volume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termine application requirements to dynamically scale infrastructure (leveraging cloud, virtualization, etc.)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133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Architecture supports agility and adaptability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imited visibility into future integration requirement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reate code set to be data driven (vs. process driven) to isolate configuration changes at the tenant level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81333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Impact of upgrades, enhancements and configuration on tenants (with limited downtime)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fficult to execute changes while limiting coordination among all tenant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velop modularized components for implementations and build integration accelerators to support multiple platform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" name="Group 32"/>
          <p:cNvGrpSpPr/>
          <p:nvPr/>
        </p:nvGrpSpPr>
        <p:grpSpPr>
          <a:xfrm>
            <a:off x="2891705" y="3031856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4" name="Right Arrow 33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oup 35"/>
          <p:cNvGrpSpPr/>
          <p:nvPr/>
        </p:nvGrpSpPr>
        <p:grpSpPr>
          <a:xfrm>
            <a:off x="2891705" y="4334954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7" name="Right Arrow 36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38"/>
          <p:cNvGrpSpPr/>
          <p:nvPr/>
        </p:nvGrpSpPr>
        <p:grpSpPr>
          <a:xfrm>
            <a:off x="2891705" y="5602319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0" name="Right Arrow 39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41"/>
          <p:cNvGrpSpPr/>
          <p:nvPr/>
        </p:nvGrpSpPr>
        <p:grpSpPr>
          <a:xfrm>
            <a:off x="5845516" y="3031856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3" name="Right Arrow 4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oup 44"/>
          <p:cNvGrpSpPr/>
          <p:nvPr/>
        </p:nvGrpSpPr>
        <p:grpSpPr>
          <a:xfrm>
            <a:off x="5845516" y="4334954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6" name="Right Arrow 4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oup 47"/>
          <p:cNvGrpSpPr/>
          <p:nvPr/>
        </p:nvGrpSpPr>
        <p:grpSpPr>
          <a:xfrm>
            <a:off x="5845516" y="5602319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9" name="Right Arrow 48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502722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Governance MT Considerations</a:t>
            </a:r>
          </a:p>
        </p:txBody>
      </p:sp>
      <p:sp>
        <p:nvSpPr>
          <p:cNvPr id="577538" name="Content Placeholder 2"/>
          <p:cNvSpPr>
            <a:spLocks noGrp="1"/>
          </p:cNvSpPr>
          <p:nvPr>
            <p:ph idx="1"/>
          </p:nvPr>
        </p:nvSpPr>
        <p:spPr>
          <a:xfrm>
            <a:off x="273050" y="1050925"/>
            <a:ext cx="8675688" cy="4921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sz="1800" b="1"/>
              <a:t>Governance considerations for Multi-Tenancy requires structure and processes to align multiple stakeholders with varied needs</a:t>
            </a:r>
          </a:p>
        </p:txBody>
      </p:sp>
      <p:pic>
        <p:nvPicPr>
          <p:cNvPr id="57753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3325" y="46038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0904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4" name="Rounded Rectangle 23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85454" y="1662370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7" name="Rounded Rectangle 26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33049" y="163862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0" name="Rounded Rectangle 29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  <p:grpSp>
        <p:nvGrpSpPr>
          <p:cNvPr id="5" name="Group 31"/>
          <p:cNvGrpSpPr/>
          <p:nvPr/>
        </p:nvGrpSpPr>
        <p:grpSpPr>
          <a:xfrm>
            <a:off x="2891705" y="3480990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3" name="Right Arrow 3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oup 34"/>
          <p:cNvGrpSpPr/>
          <p:nvPr/>
        </p:nvGrpSpPr>
        <p:grpSpPr>
          <a:xfrm>
            <a:off x="2891705" y="5297751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6" name="Right Arrow 3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40"/>
          <p:cNvGrpSpPr/>
          <p:nvPr/>
        </p:nvGrpSpPr>
        <p:grpSpPr>
          <a:xfrm>
            <a:off x="5845516" y="3480990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2" name="Right Arrow 41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43"/>
          <p:cNvGrpSpPr/>
          <p:nvPr/>
        </p:nvGrpSpPr>
        <p:grpSpPr>
          <a:xfrm>
            <a:off x="5845516" y="5297751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5" name="Right Arrow 44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347663" y="2565400"/>
          <a:ext cx="8602719" cy="36700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39313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overnance for multiple internal and external stakeholders (e.g. GBPs &amp; ASP) 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1000"/>
                        </a:spcAft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ownership and requirements prioritization is more difficult to do in a MT setting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1000"/>
                        </a:spcAft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creased demand for transparency of operations and cost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fine, communicate and operationalize service governance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lign stakeholders around common solution (expectations management)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velop metrics and service agreements that realistically drive accountabilit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0599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Requirements prioritization among multiple customer profile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rition from tenants being shutout of their requirements or standardized release management strategy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termine requirements prioritization method, sourcing requirements and associated governance model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585849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People MT Considerations</a:t>
            </a:r>
          </a:p>
        </p:txBody>
      </p:sp>
      <p:sp>
        <p:nvSpPr>
          <p:cNvPr id="579586" name="Content Placeholder 2"/>
          <p:cNvSpPr>
            <a:spLocks noGrp="1"/>
          </p:cNvSpPr>
          <p:nvPr>
            <p:ph idx="1"/>
          </p:nvPr>
        </p:nvSpPr>
        <p:spPr>
          <a:xfrm>
            <a:off x="273050" y="1050925"/>
            <a:ext cx="8675688" cy="4921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sz="1800" b="1"/>
              <a:t>People considerations for Multi-Tenancy requires extensive domain expertise, cross-functional resource assignment, and augmenting service delivery organization</a:t>
            </a:r>
          </a:p>
        </p:txBody>
      </p:sp>
      <p:pic>
        <p:nvPicPr>
          <p:cNvPr id="57958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3325" y="46038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79588" name="Group 3"/>
          <p:cNvGrpSpPr>
            <a:grpSpLocks/>
          </p:cNvGrpSpPr>
          <p:nvPr/>
        </p:nvGrpSpPr>
        <p:grpSpPr bwMode="auto">
          <a:xfrm>
            <a:off x="309563" y="1662113"/>
            <a:ext cx="2468562" cy="768350"/>
            <a:chOff x="1064" y="2119"/>
            <a:chExt cx="2528011" cy="1398557"/>
          </a:xfrm>
        </p:grpSpPr>
        <p:sp>
          <p:nvSpPr>
            <p:cNvPr id="24" name="Rounded Rectangle 23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solidFill>
              <a:schemeClr val="tx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4"/>
            <p:cNvSpPr/>
            <p:nvPr/>
          </p:nvSpPr>
          <p:spPr>
            <a:xfrm>
              <a:off x="69345" y="71469"/>
              <a:ext cx="2391450" cy="1259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85454" y="1662370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7" name="Rounded Rectangle 26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6867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0" name="Rounded Rectangle 29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  <p:grpSp>
        <p:nvGrpSpPr>
          <p:cNvPr id="5" name="Group 31"/>
          <p:cNvGrpSpPr/>
          <p:nvPr/>
        </p:nvGrpSpPr>
        <p:grpSpPr>
          <a:xfrm>
            <a:off x="2891705" y="2982102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3" name="Right Arrow 3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oup 34"/>
          <p:cNvGrpSpPr/>
          <p:nvPr/>
        </p:nvGrpSpPr>
        <p:grpSpPr>
          <a:xfrm>
            <a:off x="2891705" y="4118143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6" name="Right Arrow 3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37"/>
          <p:cNvGrpSpPr/>
          <p:nvPr/>
        </p:nvGrpSpPr>
        <p:grpSpPr>
          <a:xfrm>
            <a:off x="2891705" y="5469134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9" name="Right Arrow 38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40"/>
          <p:cNvGrpSpPr/>
          <p:nvPr/>
        </p:nvGrpSpPr>
        <p:grpSpPr>
          <a:xfrm>
            <a:off x="5845516" y="2982102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2" name="Right Arrow 41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9" name="Group 43"/>
          <p:cNvGrpSpPr/>
          <p:nvPr/>
        </p:nvGrpSpPr>
        <p:grpSpPr>
          <a:xfrm>
            <a:off x="5845516" y="4118143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5" name="Right Arrow 44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oup 46"/>
          <p:cNvGrpSpPr/>
          <p:nvPr/>
        </p:nvGrpSpPr>
        <p:grpSpPr>
          <a:xfrm>
            <a:off x="5845516" y="5469134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8" name="Right Arrow 47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347663" y="2469864"/>
          <a:ext cx="8602719" cy="4060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299359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Comprehensive solution targeting multiple customer profiles requires breadth and depth of knowledge 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quisition of resources with a deep domain knowledge and a breath of functional expertise that could reside outside of organization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velop broad cross functional support and executive sponsorship to acquire the necessary resource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30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Greater cross-functional coordination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ditional</a:t>
                      </a:r>
                      <a:r>
                        <a:rPr lang="en-US" sz="14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coordination could impact the speed of solution development</a:t>
                      </a:r>
                      <a:endParaRPr lang="en-US" sz="1400" b="0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 for additional lead time to account for involvement of multiple functional groups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75791"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Service delivery organization to support the solution end-to-end (not silo’d)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rvice delivery organization for MT solution could require different organizational set up to effectively support the solution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3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valuate various service delivery organizational structures for the most effective delivery (Shared Services or a COE)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3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quires that specific roles and responsibilities be defined at the ‘Service’ level</a:t>
                      </a:r>
                    </a:p>
                  </a:txBody>
                  <a:tcPr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69" name="Title 1"/>
          <p:cNvSpPr>
            <a:spLocks noGrp="1"/>
          </p:cNvSpPr>
          <p:nvPr>
            <p:ph type="title"/>
          </p:nvPr>
        </p:nvSpPr>
        <p:spPr>
          <a:xfrm>
            <a:off x="655638" y="304801"/>
            <a:ext cx="8145462" cy="573974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Process MT Considerations</a:t>
            </a:r>
          </a:p>
        </p:txBody>
      </p:sp>
      <p:sp>
        <p:nvSpPr>
          <p:cNvPr id="581634" name="Content Placeholder 2"/>
          <p:cNvSpPr>
            <a:spLocks noGrp="1"/>
          </p:cNvSpPr>
          <p:nvPr>
            <p:ph idx="1"/>
          </p:nvPr>
        </p:nvSpPr>
        <p:spPr>
          <a:xfrm>
            <a:off x="273050" y="1050925"/>
            <a:ext cx="8675688" cy="4921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sz="1800" b="1"/>
              <a:t>Processes considerations for Multi-Tenancy requires enhancing operating processes and managing adoption across tenants</a:t>
            </a:r>
            <a:endParaRPr sz="1800"/>
          </a:p>
        </p:txBody>
      </p:sp>
      <p:pic>
        <p:nvPicPr>
          <p:cNvPr id="58163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3325" y="46038"/>
            <a:ext cx="15748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0904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4" name="Rounded Rectangle 23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onsideration</a:t>
              </a:r>
            </a:p>
          </p:txBody>
        </p:sp>
      </p:grp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85454" y="1662370"/>
            <a:ext cx="2610895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27" name="Rounded Rectangle 26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Mitigation</a:t>
              </a:r>
            </a:p>
          </p:txBody>
        </p:sp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68675" y="1662370"/>
            <a:ext cx="2468880" cy="768100"/>
            <a:chOff x="1064" y="2119"/>
            <a:chExt cx="2528011" cy="1398557"/>
          </a:xfrm>
          <a:solidFill>
            <a:schemeClr val="tx2"/>
          </a:solidFill>
        </p:grpSpPr>
        <p:sp>
          <p:nvSpPr>
            <p:cNvPr id="30" name="Rounded Rectangle 29"/>
            <p:cNvSpPr/>
            <p:nvPr/>
          </p:nvSpPr>
          <p:spPr>
            <a:xfrm>
              <a:off x="1064" y="2119"/>
              <a:ext cx="2528011" cy="1398557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69440" y="70300"/>
              <a:ext cx="2391259" cy="126219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34290" rIns="68580" bIns="34290" spcCol="1270" anchor="ctr"/>
            <a:lstStyle/>
            <a:p>
              <a:pPr algn="ctr" defTabSz="8001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r>
                <a:rPr lang="en-US" sz="1600" b="1" dirty="0">
                  <a:solidFill>
                    <a:srgbClr val="080808"/>
                  </a:solidFill>
                </a:rPr>
                <a:t>Challenge</a:t>
              </a:r>
            </a:p>
          </p:txBody>
        </p:sp>
      </p:grpSp>
      <p:grpSp>
        <p:nvGrpSpPr>
          <p:cNvPr id="5" name="Group 31"/>
          <p:cNvGrpSpPr/>
          <p:nvPr/>
        </p:nvGrpSpPr>
        <p:grpSpPr>
          <a:xfrm>
            <a:off x="2891705" y="3109170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3" name="Right Arrow 32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Group 34"/>
          <p:cNvGrpSpPr/>
          <p:nvPr/>
        </p:nvGrpSpPr>
        <p:grpSpPr>
          <a:xfrm>
            <a:off x="2891705" y="4866403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36" name="Right Arrow 35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" name="Group 40"/>
          <p:cNvGrpSpPr/>
          <p:nvPr/>
        </p:nvGrpSpPr>
        <p:grpSpPr>
          <a:xfrm>
            <a:off x="5845516" y="3109170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2" name="Right Arrow 41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oup 43"/>
          <p:cNvGrpSpPr/>
          <p:nvPr/>
        </p:nvGrpSpPr>
        <p:grpSpPr>
          <a:xfrm>
            <a:off x="5845516" y="4866403"/>
            <a:ext cx="339494" cy="397144"/>
            <a:chOff x="1766887" y="604467"/>
            <a:chExt cx="339494" cy="397144"/>
          </a:xfrm>
          <a:solidFill>
            <a:schemeClr val="tx2"/>
          </a:solidFill>
        </p:grpSpPr>
        <p:sp>
          <p:nvSpPr>
            <p:cNvPr id="45" name="Right Arrow 44"/>
            <p:cNvSpPr/>
            <p:nvPr/>
          </p:nvSpPr>
          <p:spPr>
            <a:xfrm>
              <a:off x="1766887" y="604467"/>
              <a:ext cx="339494" cy="397144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Right Arrow 4"/>
            <p:cNvSpPr/>
            <p:nvPr/>
          </p:nvSpPr>
          <p:spPr>
            <a:xfrm>
              <a:off x="1766887" y="683896"/>
              <a:ext cx="237646" cy="23828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4889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50" name="Table 49"/>
          <p:cNvGraphicFramePr>
            <a:graphicFrameLocks noGrp="1"/>
          </p:cNvGraphicFramePr>
          <p:nvPr/>
        </p:nvGraphicFramePr>
        <p:xfrm>
          <a:off x="347663" y="2565400"/>
          <a:ext cx="8602719" cy="3557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9022"/>
                <a:gridCol w="586567"/>
                <a:gridCol w="2333818"/>
                <a:gridCol w="546557"/>
                <a:gridCol w="2726755"/>
              </a:tblGrid>
              <a:tr h="139313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finement of existing IT processes (client engagement, service delivery, and service support)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nge management and process adoption to support shift to MT service orientation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9BCC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volve functional SME’s early in the process to allow time for review, issue resolution and process change management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0599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9BCC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bg1"/>
                          </a:solidFill>
                        </a:rPr>
                        <a:t>Adoption of standard set of processes delivered by solution for each tenant while accounting for process variation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1200"/>
                        </a:spcAft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stomer acceptance of standard processes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1200"/>
                        </a:spcAft>
                        <a:buClr>
                          <a:srgbClr val="009BCC"/>
                        </a:buClr>
                        <a:buFont typeface="Wingdings" pitchFamily="2" charset="2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mpliance requirements for multiple client profiles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400" b="0" kern="1200" dirty="0" smtClean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 for effort for organization and process adoption activities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sign end-to-end process flows for each customer profile relying on configuration to drive variation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600"/>
                        </a:spcAft>
                        <a:buClr>
                          <a:srgbClr val="009BCC"/>
                        </a:buClr>
                        <a:buFont typeface="Arial" pitchFamily="34" charset="0"/>
                        <a:buNone/>
                      </a:pPr>
                      <a:r>
                        <a:rPr lang="en-US" sz="14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count for regulatory compliance (GEOs, customer types)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Agenda</a:t>
            </a:r>
            <a:endParaRPr sz="2000">
              <a:gradFill flip="none" rotWithShape="1">
                <a:gsLst>
                  <a:gs pos="0">
                    <a:srgbClr val="55E6ED"/>
                  </a:gs>
                  <a:gs pos="80000">
                    <a:srgbClr val="009249"/>
                  </a:gs>
                </a:gsLst>
                <a:lin ang="12000000" scaled="0"/>
                <a:tileRect/>
              </a:gra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922838" y="311150"/>
            <a:ext cx="3895725" cy="6208713"/>
          </a:xfrm>
        </p:spPr>
        <p:txBody>
          <a:bodyPr rtlCol="0"/>
          <a:lstStyle/>
          <a:p>
            <a:pPr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b="1" dirty="0" smtClean="0">
                <a:solidFill>
                  <a:schemeClr val="bg1"/>
                </a:solidFill>
              </a:rPr>
              <a:t>Introductions</a:t>
            </a:r>
            <a:br>
              <a:rPr b="1" dirty="0" smtClean="0">
                <a:solidFill>
                  <a:schemeClr val="bg1"/>
                </a:solidFill>
              </a:rPr>
            </a:br>
            <a:r>
              <a:rPr b="1" dirty="0" smtClean="0">
                <a:solidFill>
                  <a:schemeClr val="bg1"/>
                </a:solidFill>
              </a:rPr>
              <a:t>Purpose and Objective</a:t>
            </a:r>
          </a:p>
          <a:p>
            <a:pPr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b="1" dirty="0" smtClean="0">
                <a:solidFill>
                  <a:schemeClr val="tx1"/>
                </a:solidFill>
              </a:rPr>
              <a:t>Multi-Tenancy Overview</a:t>
            </a:r>
          </a:p>
          <a:p>
            <a:pPr marL="90488" indent="-180975">
              <a:lnSpc>
                <a:spcPct val="100000"/>
              </a:lnSpc>
              <a:spcBef>
                <a:spcPct val="0"/>
              </a:spcBef>
              <a:buClr>
                <a:srgbClr val="009BCC"/>
              </a:buClr>
              <a:buSzTx/>
              <a:defRPr/>
            </a:pPr>
            <a:r>
              <a:rPr b="1" dirty="0" smtClean="0">
                <a:solidFill>
                  <a:schemeClr val="tx1"/>
                </a:solidFill>
              </a:rPr>
              <a:t>Multi-Tenant Service Considerations</a:t>
            </a:r>
          </a:p>
          <a:p>
            <a:pPr fontAlgn="auto">
              <a:spcBef>
                <a:spcPts val="1440"/>
              </a:spcBef>
              <a:spcAft>
                <a:spcPts val="0"/>
              </a:spcAft>
              <a:defRPr/>
            </a:pPr>
            <a:r>
              <a:rPr b="1" dirty="0" smtClean="0">
                <a:solidFill>
                  <a:schemeClr val="accent2"/>
                </a:solidFill>
              </a:rPr>
              <a:t>Conclusion</a:t>
            </a:r>
            <a:br>
              <a:rPr b="1" dirty="0" smtClean="0">
                <a:solidFill>
                  <a:schemeClr val="accent2"/>
                </a:solidFill>
              </a:rPr>
            </a:br>
            <a:r>
              <a:rPr b="1" dirty="0" smtClean="0">
                <a:solidFill>
                  <a:schemeClr val="accent2"/>
                </a:solidFill>
              </a:rPr>
              <a:t>Questions</a:t>
            </a:r>
          </a:p>
        </p:txBody>
      </p:sp>
      <p:pic>
        <p:nvPicPr>
          <p:cNvPr id="548867" name="Picture 3" descr="verticalbar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Agenda</a:t>
            </a:r>
            <a:endParaRPr sz="2000">
              <a:gradFill flip="none" rotWithShape="1">
                <a:gsLst>
                  <a:gs pos="0">
                    <a:srgbClr val="55E6ED"/>
                  </a:gs>
                  <a:gs pos="80000">
                    <a:srgbClr val="009249"/>
                  </a:gs>
                </a:gsLst>
                <a:lin ang="12000000" scaled="0"/>
                <a:tileRect/>
              </a:gra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922838" y="311150"/>
            <a:ext cx="4078287" cy="6208713"/>
          </a:xfrm>
        </p:spPr>
        <p:txBody>
          <a:bodyPr rtlCol="0"/>
          <a:lstStyle/>
          <a:p>
            <a:pPr marL="257175" indent="-347663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</a:rPr>
              <a:t>Conclusion/Questions</a:t>
            </a:r>
          </a:p>
          <a:p>
            <a:pPr marL="182563" indent="-27305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buFont typeface="Wingdings" pitchFamily="2" charset="2"/>
              <a:buChar char="§"/>
              <a:defRPr/>
            </a:pPr>
            <a:endParaRPr b="1" dirty="0" smtClean="0">
              <a:solidFill>
                <a:schemeClr val="bg1"/>
              </a:solidFill>
            </a:endParaRPr>
          </a:p>
          <a:p>
            <a:pPr marL="315913" indent="-40640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</a:rPr>
              <a:t> </a:t>
            </a:r>
            <a:endParaRPr dirty="0" smtClean="0">
              <a:solidFill>
                <a:schemeClr val="accent2"/>
              </a:solidFill>
            </a:endParaRPr>
          </a:p>
        </p:txBody>
      </p:sp>
      <p:pic>
        <p:nvPicPr>
          <p:cNvPr id="583683" name="Picture 3" descr="verticalbar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How Should Multi-Tenant Services be Rolled-out</a:t>
            </a:r>
            <a:endParaRPr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385855" y="2077841"/>
          <a:ext cx="8372290" cy="3379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84707" name="TextBox 6"/>
          <p:cNvSpPr txBox="1">
            <a:spLocks noChangeArrowheads="1"/>
          </p:cNvSpPr>
          <p:nvPr/>
        </p:nvSpPr>
        <p:spPr bwMode="auto">
          <a:xfrm>
            <a:off x="501650" y="1348006"/>
            <a:ext cx="794861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i="1">
                <a:solidFill>
                  <a:srgbClr val="FFFFFF"/>
                </a:solidFill>
              </a:rPr>
              <a:t>In rolling out multi-tenancy, a </a:t>
            </a:r>
            <a:r>
              <a:rPr lang="en-US" sz="1600" i="1" u="sng">
                <a:solidFill>
                  <a:srgbClr val="FFFFFF"/>
                </a:solidFill>
              </a:rPr>
              <a:t>combination</a:t>
            </a:r>
            <a:r>
              <a:rPr lang="en-US" sz="1600" i="1">
                <a:solidFill>
                  <a:srgbClr val="FFFFFF"/>
                </a:solidFill>
              </a:rPr>
              <a:t> of approaches must be considered in order to properly balance cost vs. benefit as well as likelihood of corporate adop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2506" y="2715491"/>
            <a:ext cx="8145462" cy="838200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sz="4800" smtClean="0"/>
              <a:t>Questions?</a:t>
            </a:r>
            <a:endParaRPr sz="48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889" name="Subtitle 5"/>
          <p:cNvSpPr>
            <a:spLocks noGrp="1"/>
          </p:cNvSpPr>
          <p:nvPr>
            <p:ph type="subTitle" idx="1"/>
          </p:nvPr>
        </p:nvSpPr>
        <p:spPr>
          <a:xfrm>
            <a:off x="236538" y="4279900"/>
            <a:ext cx="4684712" cy="384175"/>
          </a:xfrm>
        </p:spPr>
        <p:txBody>
          <a:bodyPr/>
          <a:lstStyle/>
          <a:p>
            <a:pPr>
              <a:spcBef>
                <a:spcPts val="1438"/>
              </a:spcBef>
              <a:buFont typeface="Arial" charset="0"/>
              <a:buNone/>
            </a:pPr>
            <a:r>
              <a:rPr smtClean="0">
                <a:solidFill>
                  <a:schemeClr val="bg1"/>
                </a:solidFill>
              </a:rPr>
              <a:t>Robert Roffey and </a:t>
            </a:r>
            <a:r>
              <a:rPr smtClean="0"/>
              <a:t>Sid Kapila</a:t>
            </a:r>
          </a:p>
          <a:p>
            <a:pPr>
              <a:spcBef>
                <a:spcPts val="1438"/>
              </a:spcBef>
              <a:buFont typeface="Arial" charset="0"/>
              <a:buNone/>
            </a:pPr>
            <a:endParaRPr smtClean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Introductions</a:t>
            </a:r>
          </a:p>
        </p:txBody>
      </p:sp>
      <p:pic>
        <p:nvPicPr>
          <p:cNvPr id="549891" name="Picture Placeholder 30" descr="gear.png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3680" r="3680"/>
          <a:stretch>
            <a:fillRect/>
          </a:stretch>
        </p:blipFill>
        <p:spPr/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874" name="Rectangle 2"/>
          <p:cNvSpPr>
            <a:spLocks noChangeArrowheads="1"/>
          </p:cNvSpPr>
          <p:nvPr/>
        </p:nvSpPr>
        <p:spPr bwMode="auto">
          <a:xfrm>
            <a:off x="296863" y="0"/>
            <a:ext cx="8377237" cy="782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80000"/>
              </a:lnSpc>
            </a:pPr>
            <a:r>
              <a:rPr lang="en-GB" sz="2800">
                <a:solidFill>
                  <a:schemeClr val="bg2"/>
                </a:solidFill>
                <a:latin typeface="Arial Narrow" pitchFamily="34" charset="0"/>
              </a:rPr>
              <a:t>The value path for the Service Oriented Enterprise</a:t>
            </a:r>
          </a:p>
        </p:txBody>
      </p:sp>
      <p:sp>
        <p:nvSpPr>
          <p:cNvPr id="551938" name="AutoShape 3"/>
          <p:cNvSpPr>
            <a:spLocks noChangeArrowheads="1"/>
          </p:cNvSpPr>
          <p:nvPr/>
        </p:nvSpPr>
        <p:spPr bwMode="auto">
          <a:xfrm flipH="1" flipV="1">
            <a:off x="2881313" y="4295775"/>
            <a:ext cx="3532187" cy="1417638"/>
          </a:xfrm>
          <a:prstGeom prst="parallelogram">
            <a:avLst>
              <a:gd name="adj" fmla="val 75452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GB" sz="2000"/>
          </a:p>
        </p:txBody>
      </p:sp>
      <p:sp>
        <p:nvSpPr>
          <p:cNvPr id="551939" name="AutoShape 4"/>
          <p:cNvSpPr>
            <a:spLocks noChangeArrowheads="1"/>
          </p:cNvSpPr>
          <p:nvPr/>
        </p:nvSpPr>
        <p:spPr bwMode="auto">
          <a:xfrm flipH="1" flipV="1">
            <a:off x="5006975" y="4802188"/>
            <a:ext cx="3733800" cy="1357312"/>
          </a:xfrm>
          <a:prstGeom prst="parallelogram">
            <a:avLst>
              <a:gd name="adj" fmla="val 74961"/>
            </a:avLst>
          </a:prstGeom>
          <a:solidFill>
            <a:schemeClr val="folHlink"/>
          </a:solidFill>
          <a:ln w="19050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551940" name="AutoShape 5"/>
          <p:cNvSpPr>
            <a:spLocks noChangeArrowheads="1"/>
          </p:cNvSpPr>
          <p:nvPr/>
        </p:nvSpPr>
        <p:spPr bwMode="auto">
          <a:xfrm flipH="1">
            <a:off x="5116513" y="577850"/>
            <a:ext cx="3733800" cy="1231900"/>
          </a:xfrm>
          <a:prstGeom prst="parallelogram">
            <a:avLst>
              <a:gd name="adj" fmla="val 74987"/>
            </a:avLst>
          </a:prstGeom>
          <a:solidFill>
            <a:schemeClr val="folHlink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551941" name="Text Box 6"/>
          <p:cNvSpPr txBox="1">
            <a:spLocks noChangeArrowheads="1"/>
          </p:cNvSpPr>
          <p:nvPr/>
        </p:nvSpPr>
        <p:spPr bwMode="auto">
          <a:xfrm>
            <a:off x="5692775" y="631825"/>
            <a:ext cx="2125663" cy="730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400">
                <a:solidFill>
                  <a:srgbClr val="FFFF00"/>
                </a:solidFill>
              </a:rPr>
              <a:t>Externally created value </a:t>
            </a:r>
          </a:p>
          <a:p>
            <a:pPr algn="ctr"/>
            <a:r>
              <a:rPr lang="en-GB" sz="1400">
                <a:solidFill>
                  <a:srgbClr val="FFFF00"/>
                </a:solidFill>
              </a:rPr>
              <a:t>through more efficient </a:t>
            </a:r>
          </a:p>
          <a:p>
            <a:pPr algn="ctr"/>
            <a:r>
              <a:rPr lang="en-GB" sz="1400">
                <a:solidFill>
                  <a:srgbClr val="FFFF00"/>
                </a:solidFill>
              </a:rPr>
              <a:t>market interaction</a:t>
            </a:r>
          </a:p>
        </p:txBody>
      </p:sp>
      <p:sp>
        <p:nvSpPr>
          <p:cNvPr id="551942" name="Text Box 7"/>
          <p:cNvSpPr txBox="1">
            <a:spLocks noChangeArrowheads="1"/>
          </p:cNvSpPr>
          <p:nvPr/>
        </p:nvSpPr>
        <p:spPr bwMode="auto">
          <a:xfrm>
            <a:off x="6013450" y="5202238"/>
            <a:ext cx="1500188" cy="11557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Mobility</a:t>
            </a:r>
          </a:p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Event Driven</a:t>
            </a:r>
          </a:p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Real Innovation</a:t>
            </a:r>
          </a:p>
          <a:p>
            <a:pPr marL="114300" indent="-114300">
              <a:buClr>
                <a:schemeClr val="hlink"/>
              </a:buClr>
              <a:buFontTx/>
              <a:buChar char="•"/>
            </a:pPr>
            <a:endParaRPr lang="en-GB" sz="1400">
              <a:solidFill>
                <a:srgbClr val="FFFF00"/>
              </a:solidFill>
            </a:endParaRPr>
          </a:p>
        </p:txBody>
      </p:sp>
      <p:sp>
        <p:nvSpPr>
          <p:cNvPr id="551943" name="AutoShape 8"/>
          <p:cNvSpPr>
            <a:spLocks noChangeArrowheads="1"/>
          </p:cNvSpPr>
          <p:nvPr/>
        </p:nvSpPr>
        <p:spPr bwMode="auto">
          <a:xfrm flipH="1">
            <a:off x="163513" y="2343150"/>
            <a:ext cx="2312987" cy="955675"/>
          </a:xfrm>
          <a:prstGeom prst="parallelogram">
            <a:avLst>
              <a:gd name="adj" fmla="val 81056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551944" name="AutoShape 9"/>
          <p:cNvSpPr>
            <a:spLocks noChangeArrowheads="1"/>
          </p:cNvSpPr>
          <p:nvPr/>
        </p:nvSpPr>
        <p:spPr bwMode="auto">
          <a:xfrm flipH="1" flipV="1">
            <a:off x="120650" y="3425825"/>
            <a:ext cx="2312988" cy="955675"/>
          </a:xfrm>
          <a:prstGeom prst="parallelogram">
            <a:avLst>
              <a:gd name="adj" fmla="val 83219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GB" sz="2000"/>
          </a:p>
        </p:txBody>
      </p:sp>
      <p:sp>
        <p:nvSpPr>
          <p:cNvPr id="551945" name="AutoShape 10"/>
          <p:cNvSpPr>
            <a:spLocks noChangeArrowheads="1"/>
          </p:cNvSpPr>
          <p:nvPr/>
        </p:nvSpPr>
        <p:spPr bwMode="auto">
          <a:xfrm flipH="1" flipV="1">
            <a:off x="1000125" y="3749675"/>
            <a:ext cx="3424238" cy="1420813"/>
          </a:xfrm>
          <a:prstGeom prst="parallelogram">
            <a:avLst>
              <a:gd name="adj" fmla="val 76385"/>
            </a:avLst>
          </a:prstGeom>
          <a:solidFill>
            <a:schemeClr val="folHlink"/>
          </a:solidFill>
          <a:ln w="19050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551946" name="AutoShape 11"/>
          <p:cNvSpPr>
            <a:spLocks noChangeArrowheads="1"/>
          </p:cNvSpPr>
          <p:nvPr/>
        </p:nvSpPr>
        <p:spPr bwMode="auto">
          <a:xfrm flipH="1">
            <a:off x="1314450" y="1798638"/>
            <a:ext cx="3259138" cy="1231900"/>
          </a:xfrm>
          <a:prstGeom prst="parallelogram">
            <a:avLst>
              <a:gd name="adj" fmla="val 73061"/>
            </a:avLst>
          </a:prstGeom>
          <a:solidFill>
            <a:schemeClr val="folHlink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551947" name="AutoShape 12"/>
          <p:cNvSpPr>
            <a:spLocks noChangeArrowheads="1"/>
          </p:cNvSpPr>
          <p:nvPr/>
        </p:nvSpPr>
        <p:spPr bwMode="auto">
          <a:xfrm flipH="1">
            <a:off x="3176588" y="1176338"/>
            <a:ext cx="3344862" cy="1231900"/>
          </a:xfrm>
          <a:prstGeom prst="parallelogram">
            <a:avLst>
              <a:gd name="adj" fmla="val 75510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551948" name="Line 13"/>
          <p:cNvSpPr>
            <a:spLocks noChangeShapeType="1"/>
          </p:cNvSpPr>
          <p:nvPr/>
        </p:nvSpPr>
        <p:spPr bwMode="auto">
          <a:xfrm>
            <a:off x="6172200" y="1820863"/>
            <a:ext cx="0" cy="2994025"/>
          </a:xfrm>
          <a:prstGeom prst="line">
            <a:avLst/>
          </a:prstGeom>
          <a:noFill/>
          <a:ln w="19050" cap="rnd">
            <a:solidFill>
              <a:srgbClr val="003366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1949" name="Line 14"/>
          <p:cNvSpPr>
            <a:spLocks noChangeShapeType="1"/>
          </p:cNvSpPr>
          <p:nvPr/>
        </p:nvSpPr>
        <p:spPr bwMode="auto">
          <a:xfrm flipH="1">
            <a:off x="4017963" y="2339975"/>
            <a:ext cx="19050" cy="1976438"/>
          </a:xfrm>
          <a:prstGeom prst="line">
            <a:avLst/>
          </a:prstGeom>
          <a:noFill/>
          <a:ln w="19050" cap="rnd">
            <a:solidFill>
              <a:srgbClr val="003366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1950" name="Text Box 15"/>
          <p:cNvSpPr txBox="1">
            <a:spLocks noChangeArrowheads="1"/>
          </p:cNvSpPr>
          <p:nvPr/>
        </p:nvSpPr>
        <p:spPr bwMode="auto">
          <a:xfrm>
            <a:off x="3552825" y="1247775"/>
            <a:ext cx="1887538" cy="730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Internal value created</a:t>
            </a:r>
          </a:p>
          <a:p>
            <a:pPr algn="ctr"/>
            <a:r>
              <a:rPr lang="en-GB" sz="1400">
                <a:solidFill>
                  <a:schemeClr val="bg1"/>
                </a:solidFill>
              </a:rPr>
              <a:t>through process</a:t>
            </a:r>
          </a:p>
          <a:p>
            <a:pPr algn="ctr"/>
            <a:r>
              <a:rPr lang="en-GB" sz="1400">
                <a:solidFill>
                  <a:schemeClr val="bg1"/>
                </a:solidFill>
              </a:rPr>
              <a:t>redesign</a:t>
            </a:r>
          </a:p>
        </p:txBody>
      </p:sp>
      <p:sp>
        <p:nvSpPr>
          <p:cNvPr id="551951" name="Text Box 16"/>
          <p:cNvSpPr txBox="1">
            <a:spLocks noChangeArrowheads="1"/>
          </p:cNvSpPr>
          <p:nvPr/>
        </p:nvSpPr>
        <p:spPr bwMode="auto">
          <a:xfrm>
            <a:off x="1836738" y="1824038"/>
            <a:ext cx="1789112" cy="730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1400">
                <a:solidFill>
                  <a:srgbClr val="FFFF00"/>
                </a:solidFill>
              </a:rPr>
              <a:t>Internal cost </a:t>
            </a:r>
          </a:p>
          <a:p>
            <a:pPr algn="ctr"/>
            <a:r>
              <a:rPr lang="en-GB" sz="1400">
                <a:solidFill>
                  <a:srgbClr val="FFFF00"/>
                </a:solidFill>
              </a:rPr>
              <a:t>reduction by shared </a:t>
            </a:r>
          </a:p>
          <a:p>
            <a:pPr algn="ctr"/>
            <a:r>
              <a:rPr lang="en-GB" sz="1400">
                <a:solidFill>
                  <a:srgbClr val="FFFF00"/>
                </a:solidFill>
              </a:rPr>
              <a:t>resources</a:t>
            </a:r>
          </a:p>
        </p:txBody>
      </p:sp>
      <p:sp>
        <p:nvSpPr>
          <p:cNvPr id="551952" name="Text Box 17"/>
          <p:cNvSpPr txBox="1">
            <a:spLocks noChangeArrowheads="1"/>
          </p:cNvSpPr>
          <p:nvPr/>
        </p:nvSpPr>
        <p:spPr bwMode="auto">
          <a:xfrm>
            <a:off x="303213" y="2349500"/>
            <a:ext cx="1433512" cy="51752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400">
                <a:solidFill>
                  <a:schemeClr val="bg1"/>
                </a:solidFill>
              </a:rPr>
              <a:t>License cost</a:t>
            </a:r>
          </a:p>
          <a:p>
            <a:pPr algn="ctr"/>
            <a:r>
              <a:rPr lang="en-GB" sz="1400">
                <a:solidFill>
                  <a:schemeClr val="bg1"/>
                </a:solidFill>
              </a:rPr>
              <a:t>savings</a:t>
            </a:r>
          </a:p>
        </p:txBody>
      </p:sp>
      <p:sp>
        <p:nvSpPr>
          <p:cNvPr id="551953" name="Text Box 18"/>
          <p:cNvSpPr txBox="1">
            <a:spLocks noChangeArrowheads="1"/>
          </p:cNvSpPr>
          <p:nvPr/>
        </p:nvSpPr>
        <p:spPr bwMode="auto">
          <a:xfrm>
            <a:off x="590550" y="3649663"/>
            <a:ext cx="1390650" cy="63976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Linux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Platform Rationalisation</a:t>
            </a:r>
          </a:p>
        </p:txBody>
      </p:sp>
      <p:sp>
        <p:nvSpPr>
          <p:cNvPr id="551954" name="Text Box 19"/>
          <p:cNvSpPr txBox="1">
            <a:spLocks noChangeArrowheads="1"/>
          </p:cNvSpPr>
          <p:nvPr/>
        </p:nvSpPr>
        <p:spPr bwMode="auto">
          <a:xfrm>
            <a:off x="1779588" y="4154488"/>
            <a:ext cx="2062162" cy="94297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Storage Area Networks</a:t>
            </a:r>
          </a:p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Server Virtualisation</a:t>
            </a:r>
          </a:p>
          <a:p>
            <a:pPr marL="114300" indent="-114300">
              <a:buClr>
                <a:schemeClr val="hlink"/>
              </a:buClr>
              <a:buFontTx/>
              <a:buChar char="•"/>
            </a:pPr>
            <a:r>
              <a:rPr lang="en-GB" sz="1400">
                <a:solidFill>
                  <a:srgbClr val="FFFF00"/>
                </a:solidFill>
              </a:rPr>
              <a:t>Grid Computing</a:t>
            </a:r>
          </a:p>
        </p:txBody>
      </p:sp>
      <p:sp>
        <p:nvSpPr>
          <p:cNvPr id="551955" name="Text Box 20"/>
          <p:cNvSpPr txBox="1">
            <a:spLocks noChangeArrowheads="1"/>
          </p:cNvSpPr>
          <p:nvPr/>
        </p:nvSpPr>
        <p:spPr bwMode="auto">
          <a:xfrm>
            <a:off x="3762375" y="4373563"/>
            <a:ext cx="2005013" cy="1370012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Security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Web Services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Business Intelligence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Management tools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Development Tools</a:t>
            </a:r>
          </a:p>
          <a:p>
            <a:pPr marL="114300" indent="-114300">
              <a:buClr>
                <a:schemeClr val="bg1"/>
              </a:buClr>
              <a:buFontTx/>
              <a:buChar char="•"/>
            </a:pPr>
            <a:r>
              <a:rPr lang="en-GB" sz="1200">
                <a:solidFill>
                  <a:schemeClr val="bg1"/>
                </a:solidFill>
              </a:rPr>
              <a:t>Service Orientated Architecture</a:t>
            </a:r>
          </a:p>
        </p:txBody>
      </p:sp>
      <p:sp>
        <p:nvSpPr>
          <p:cNvPr id="551956" name="AutoShape 21"/>
          <p:cNvSpPr>
            <a:spLocks noChangeArrowheads="1"/>
          </p:cNvSpPr>
          <p:nvPr/>
        </p:nvSpPr>
        <p:spPr bwMode="gray">
          <a:xfrm rot="-5400000">
            <a:off x="2313781" y="-1054893"/>
            <a:ext cx="4424363" cy="8756650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19050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/>
            <a:r>
              <a:rPr lang="en-GB" sz="2000">
                <a:solidFill>
                  <a:schemeClr val="bg1"/>
                </a:solidFill>
              </a:rPr>
              <a:t>b</a:t>
            </a:r>
          </a:p>
        </p:txBody>
      </p:sp>
      <p:sp>
        <p:nvSpPr>
          <p:cNvPr id="551957" name="Line 22"/>
          <p:cNvSpPr>
            <a:spLocks noChangeShapeType="1"/>
          </p:cNvSpPr>
          <p:nvPr/>
        </p:nvSpPr>
        <p:spPr bwMode="auto">
          <a:xfrm flipH="1">
            <a:off x="2051050" y="2868613"/>
            <a:ext cx="9525" cy="949325"/>
          </a:xfrm>
          <a:prstGeom prst="line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pSp>
        <p:nvGrpSpPr>
          <p:cNvPr id="551958" name="Group 23"/>
          <p:cNvGrpSpPr>
            <a:grpSpLocks/>
          </p:cNvGrpSpPr>
          <p:nvPr/>
        </p:nvGrpSpPr>
        <p:grpSpPr bwMode="auto">
          <a:xfrm>
            <a:off x="1416050" y="3038475"/>
            <a:ext cx="277813" cy="509588"/>
            <a:chOff x="435" y="3157"/>
            <a:chExt cx="527" cy="734"/>
          </a:xfrm>
        </p:grpSpPr>
        <p:sp>
          <p:nvSpPr>
            <p:cNvPr id="552003" name="Rectangle 24"/>
            <p:cNvSpPr>
              <a:spLocks noChangeArrowheads="1"/>
            </p:cNvSpPr>
            <p:nvPr/>
          </p:nvSpPr>
          <p:spPr bwMode="auto">
            <a:xfrm>
              <a:off x="435" y="3157"/>
              <a:ext cx="527" cy="734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4" name="Rectangle 25"/>
            <p:cNvSpPr>
              <a:spLocks noChangeArrowheads="1"/>
            </p:cNvSpPr>
            <p:nvPr/>
          </p:nvSpPr>
          <p:spPr bwMode="auto">
            <a:xfrm>
              <a:off x="481" y="3469"/>
              <a:ext cx="56" cy="359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5" name="Rectangle 26"/>
            <p:cNvSpPr>
              <a:spLocks noChangeArrowheads="1"/>
            </p:cNvSpPr>
            <p:nvPr/>
          </p:nvSpPr>
          <p:spPr bwMode="auto">
            <a:xfrm>
              <a:off x="577" y="3470"/>
              <a:ext cx="56" cy="359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6" name="Rectangle 27"/>
            <p:cNvSpPr>
              <a:spLocks noChangeArrowheads="1"/>
            </p:cNvSpPr>
            <p:nvPr/>
          </p:nvSpPr>
          <p:spPr bwMode="auto">
            <a:xfrm>
              <a:off x="673" y="3471"/>
              <a:ext cx="56" cy="359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7" name="Rectangle 28"/>
            <p:cNvSpPr>
              <a:spLocks noChangeArrowheads="1"/>
            </p:cNvSpPr>
            <p:nvPr/>
          </p:nvSpPr>
          <p:spPr bwMode="auto">
            <a:xfrm>
              <a:off x="769" y="3472"/>
              <a:ext cx="56" cy="359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8" name="Rectangle 29"/>
            <p:cNvSpPr>
              <a:spLocks noChangeArrowheads="1"/>
            </p:cNvSpPr>
            <p:nvPr/>
          </p:nvSpPr>
          <p:spPr bwMode="auto">
            <a:xfrm>
              <a:off x="865" y="3473"/>
              <a:ext cx="56" cy="359"/>
            </a:xfrm>
            <a:prstGeom prst="rect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09" name="Oval 30"/>
            <p:cNvSpPr>
              <a:spLocks noChangeArrowheads="1"/>
            </p:cNvSpPr>
            <p:nvPr/>
          </p:nvSpPr>
          <p:spPr bwMode="auto">
            <a:xfrm>
              <a:off x="473" y="3207"/>
              <a:ext cx="201" cy="2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10" name="Oval 31"/>
            <p:cNvSpPr>
              <a:spLocks noChangeArrowheads="1"/>
            </p:cNvSpPr>
            <p:nvPr/>
          </p:nvSpPr>
          <p:spPr bwMode="auto">
            <a:xfrm>
              <a:off x="714" y="3208"/>
              <a:ext cx="201" cy="2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rgbClr val="00336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11" name="Oval 32"/>
            <p:cNvSpPr>
              <a:spLocks noChangeArrowheads="1"/>
            </p:cNvSpPr>
            <p:nvPr/>
          </p:nvSpPr>
          <p:spPr bwMode="auto">
            <a:xfrm>
              <a:off x="750" y="3246"/>
              <a:ext cx="126" cy="13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rgbClr val="00336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2012" name="Oval 33"/>
            <p:cNvSpPr>
              <a:spLocks noChangeArrowheads="1"/>
            </p:cNvSpPr>
            <p:nvPr/>
          </p:nvSpPr>
          <p:spPr bwMode="auto">
            <a:xfrm>
              <a:off x="511" y="3242"/>
              <a:ext cx="126" cy="13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rgbClr val="00336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51959" name="Group 34"/>
          <p:cNvGrpSpPr>
            <a:grpSpLocks/>
          </p:cNvGrpSpPr>
          <p:nvPr/>
        </p:nvGrpSpPr>
        <p:grpSpPr bwMode="auto">
          <a:xfrm>
            <a:off x="6134100" y="1798638"/>
            <a:ext cx="2476500" cy="3006725"/>
            <a:chOff x="4091" y="1628"/>
            <a:chExt cx="1152" cy="1398"/>
          </a:xfrm>
        </p:grpSpPr>
        <p:pic>
          <p:nvPicPr>
            <p:cNvPr id="551979" name="Picture 35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880" y="2606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pic>
          <p:nvPicPr>
            <p:cNvPr id="551980" name="Picture 36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508" y="2606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pic>
          <p:nvPicPr>
            <p:cNvPr id="551981" name="Picture 37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136" y="2606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grpSp>
          <p:nvGrpSpPr>
            <p:cNvPr id="551982" name="Group 38"/>
            <p:cNvGrpSpPr>
              <a:grpSpLocks/>
            </p:cNvGrpSpPr>
            <p:nvPr/>
          </p:nvGrpSpPr>
          <p:grpSpPr bwMode="auto">
            <a:xfrm>
              <a:off x="4091" y="1628"/>
              <a:ext cx="1152" cy="937"/>
              <a:chOff x="5309" y="1694"/>
              <a:chExt cx="1308" cy="1015"/>
            </a:xfrm>
          </p:grpSpPr>
          <p:sp>
            <p:nvSpPr>
              <p:cNvPr id="551983" name="AutoShape 39"/>
              <p:cNvSpPr>
                <a:spLocks noChangeArrowheads="1"/>
              </p:cNvSpPr>
              <p:nvPr/>
            </p:nvSpPr>
            <p:spPr bwMode="auto">
              <a:xfrm>
                <a:off x="5558" y="2156"/>
                <a:ext cx="247" cy="302"/>
              </a:xfrm>
              <a:prstGeom prst="flowChartMultidocumen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GB" sz="1400"/>
                  <a:t> </a:t>
                </a:r>
              </a:p>
            </p:txBody>
          </p:sp>
          <p:sp>
            <p:nvSpPr>
              <p:cNvPr id="551984" name="AutoShape 40"/>
              <p:cNvSpPr>
                <a:spLocks noChangeArrowheads="1"/>
              </p:cNvSpPr>
              <p:nvPr/>
            </p:nvSpPr>
            <p:spPr bwMode="auto">
              <a:xfrm>
                <a:off x="5309" y="2264"/>
                <a:ext cx="218" cy="137"/>
              </a:xfrm>
              <a:prstGeom prst="leftArrow">
                <a:avLst>
                  <a:gd name="adj1" fmla="val 24083"/>
                  <a:gd name="adj2" fmla="val 40149"/>
                </a:avLst>
              </a:prstGeom>
              <a:solidFill>
                <a:schemeClr val="bg2"/>
              </a:solidFill>
              <a:ln w="1905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85" name="AutoShape 41"/>
              <p:cNvSpPr>
                <a:spLocks noChangeArrowheads="1"/>
              </p:cNvSpPr>
              <p:nvPr/>
            </p:nvSpPr>
            <p:spPr bwMode="auto">
              <a:xfrm>
                <a:off x="5349" y="1718"/>
                <a:ext cx="137" cy="106"/>
              </a:xfrm>
              <a:prstGeom prst="flowChartManualInpu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86" name="AutoShape 42"/>
              <p:cNvSpPr>
                <a:spLocks noChangeArrowheads="1"/>
              </p:cNvSpPr>
              <p:nvPr/>
            </p:nvSpPr>
            <p:spPr bwMode="auto">
              <a:xfrm>
                <a:off x="5761" y="1712"/>
                <a:ext cx="255" cy="127"/>
              </a:xfrm>
              <a:prstGeom prst="flowChartProcess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/>
                  <a:t>Mobility</a:t>
                </a:r>
              </a:p>
            </p:txBody>
          </p:sp>
          <p:sp>
            <p:nvSpPr>
              <p:cNvPr id="551987" name="AutoShape 43"/>
              <p:cNvSpPr>
                <a:spLocks noChangeArrowheads="1"/>
              </p:cNvSpPr>
              <p:nvPr/>
            </p:nvSpPr>
            <p:spPr bwMode="auto">
              <a:xfrm>
                <a:off x="6063" y="1706"/>
                <a:ext cx="148" cy="112"/>
              </a:xfrm>
              <a:prstGeom prst="flowChartPredefinedProcess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88" name="Line 44"/>
              <p:cNvSpPr>
                <a:spLocks noChangeShapeType="1"/>
              </p:cNvSpPr>
              <p:nvPr/>
            </p:nvSpPr>
            <p:spPr bwMode="auto">
              <a:xfrm rot="-5400000" flipH="1" flipV="1">
                <a:off x="5328" y="1989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89" name="Line 45"/>
              <p:cNvSpPr>
                <a:spLocks noChangeShapeType="1"/>
              </p:cNvSpPr>
              <p:nvPr/>
            </p:nvSpPr>
            <p:spPr bwMode="auto">
              <a:xfrm rot="-5400000" flipH="1" flipV="1">
                <a:off x="5557" y="1989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0" name="Line 46"/>
              <p:cNvSpPr>
                <a:spLocks noChangeShapeType="1"/>
              </p:cNvSpPr>
              <p:nvPr/>
            </p:nvSpPr>
            <p:spPr bwMode="auto">
              <a:xfrm rot="-5400000" flipH="1" flipV="1">
                <a:off x="5787" y="1989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1" name="Line 47"/>
              <p:cNvSpPr>
                <a:spLocks noChangeShapeType="1"/>
              </p:cNvSpPr>
              <p:nvPr/>
            </p:nvSpPr>
            <p:spPr bwMode="auto">
              <a:xfrm rot="-5400000" flipH="1" flipV="1">
                <a:off x="6016" y="1989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2" name="Line 48"/>
              <p:cNvSpPr>
                <a:spLocks noChangeShapeType="1"/>
              </p:cNvSpPr>
              <p:nvPr/>
            </p:nvSpPr>
            <p:spPr bwMode="auto">
              <a:xfrm rot="-5400000" flipH="1" flipV="1">
                <a:off x="6246" y="1989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3" name="Line 49"/>
              <p:cNvSpPr>
                <a:spLocks noChangeShapeType="1"/>
              </p:cNvSpPr>
              <p:nvPr/>
            </p:nvSpPr>
            <p:spPr bwMode="auto">
              <a:xfrm rot="-5400000" flipH="1" flipV="1">
                <a:off x="5365" y="2607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4" name="Line 50"/>
              <p:cNvSpPr>
                <a:spLocks noChangeShapeType="1"/>
              </p:cNvSpPr>
              <p:nvPr/>
            </p:nvSpPr>
            <p:spPr bwMode="auto">
              <a:xfrm rot="-5400000" flipH="1" flipV="1">
                <a:off x="5594" y="2607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5" name="Line 51"/>
              <p:cNvSpPr>
                <a:spLocks noChangeShapeType="1"/>
              </p:cNvSpPr>
              <p:nvPr/>
            </p:nvSpPr>
            <p:spPr bwMode="auto">
              <a:xfrm rot="-5400000" flipH="1" flipV="1">
                <a:off x="5824" y="2607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6" name="Line 52"/>
              <p:cNvSpPr>
                <a:spLocks noChangeShapeType="1"/>
              </p:cNvSpPr>
              <p:nvPr/>
            </p:nvSpPr>
            <p:spPr bwMode="auto">
              <a:xfrm rot="-5400000" flipH="1" flipV="1">
                <a:off x="6053" y="2607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7" name="Line 53"/>
              <p:cNvSpPr>
                <a:spLocks noChangeShapeType="1"/>
              </p:cNvSpPr>
              <p:nvPr/>
            </p:nvSpPr>
            <p:spPr bwMode="auto">
              <a:xfrm rot="-5400000" flipH="1" flipV="1">
                <a:off x="6283" y="2607"/>
                <a:ext cx="203" cy="2"/>
              </a:xfrm>
              <a:prstGeom prst="line">
                <a:avLst/>
              </a:prstGeom>
              <a:noFill/>
              <a:ln w="12700">
                <a:solidFill>
                  <a:srgbClr val="003366"/>
                </a:solidFill>
                <a:round/>
                <a:headEnd type="stealth" w="lg" len="lg"/>
                <a:tailEnd type="stealth" w="lg" len="lg"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8" name="AutoShape 54"/>
              <p:cNvSpPr>
                <a:spLocks noChangeArrowheads="1"/>
              </p:cNvSpPr>
              <p:nvPr/>
            </p:nvSpPr>
            <p:spPr bwMode="auto">
              <a:xfrm flipH="1">
                <a:off x="6399" y="2264"/>
                <a:ext cx="218" cy="137"/>
              </a:xfrm>
              <a:prstGeom prst="leftArrow">
                <a:avLst>
                  <a:gd name="adj1" fmla="val 24083"/>
                  <a:gd name="adj2" fmla="val 40149"/>
                </a:avLst>
              </a:prstGeom>
              <a:solidFill>
                <a:schemeClr val="bg2"/>
              </a:solidFill>
              <a:ln w="1905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1999" name="AutoShape 55"/>
              <p:cNvSpPr>
                <a:spLocks noChangeArrowheads="1"/>
              </p:cNvSpPr>
              <p:nvPr/>
            </p:nvSpPr>
            <p:spPr bwMode="auto">
              <a:xfrm>
                <a:off x="5526" y="1694"/>
                <a:ext cx="137" cy="106"/>
              </a:xfrm>
              <a:prstGeom prst="flowChartManualInpu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2000" name="AutoShape 56"/>
              <p:cNvSpPr>
                <a:spLocks noChangeArrowheads="1"/>
              </p:cNvSpPr>
              <p:nvPr/>
            </p:nvSpPr>
            <p:spPr bwMode="auto">
              <a:xfrm>
                <a:off x="6243" y="1706"/>
                <a:ext cx="148" cy="112"/>
              </a:xfrm>
              <a:prstGeom prst="flowChartPredefinedProcess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2001" name="AutoShape 57"/>
              <p:cNvSpPr>
                <a:spLocks noChangeArrowheads="1"/>
              </p:cNvSpPr>
              <p:nvPr/>
            </p:nvSpPr>
            <p:spPr bwMode="auto">
              <a:xfrm>
                <a:off x="5834" y="2126"/>
                <a:ext cx="247" cy="302"/>
              </a:xfrm>
              <a:prstGeom prst="flowChartMultidocumen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GB" sz="1400"/>
                  <a:t> </a:t>
                </a:r>
              </a:p>
            </p:txBody>
          </p:sp>
          <p:sp>
            <p:nvSpPr>
              <p:cNvPr id="552002" name="AutoShape 58"/>
              <p:cNvSpPr>
                <a:spLocks noChangeArrowheads="1"/>
              </p:cNvSpPr>
              <p:nvPr/>
            </p:nvSpPr>
            <p:spPr bwMode="auto">
              <a:xfrm>
                <a:off x="6116" y="2138"/>
                <a:ext cx="247" cy="302"/>
              </a:xfrm>
              <a:prstGeom prst="flowChartMultidocument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GB" sz="1400"/>
                  <a:t> </a:t>
                </a:r>
              </a:p>
            </p:txBody>
          </p:sp>
        </p:grpSp>
      </p:grpSp>
      <p:grpSp>
        <p:nvGrpSpPr>
          <p:cNvPr id="551960" name="Group 59"/>
          <p:cNvGrpSpPr>
            <a:grpSpLocks/>
          </p:cNvGrpSpPr>
          <p:nvPr/>
        </p:nvGrpSpPr>
        <p:grpSpPr bwMode="auto">
          <a:xfrm>
            <a:off x="4114800" y="2370138"/>
            <a:ext cx="1817688" cy="1812925"/>
            <a:chOff x="2744" y="1844"/>
            <a:chExt cx="993" cy="990"/>
          </a:xfrm>
        </p:grpSpPr>
        <p:sp>
          <p:nvSpPr>
            <p:cNvPr id="551968" name="AutoShape 60"/>
            <p:cNvSpPr>
              <a:spLocks noChangeArrowheads="1"/>
            </p:cNvSpPr>
            <p:nvPr/>
          </p:nvSpPr>
          <p:spPr bwMode="auto">
            <a:xfrm>
              <a:off x="3015" y="1844"/>
              <a:ext cx="400" cy="305"/>
            </a:xfrm>
            <a:prstGeom prst="flowChartMultidocument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GB" sz="800"/>
                <a:t> Process</a:t>
              </a:r>
              <a:br>
                <a:rPr lang="en-GB" sz="800"/>
              </a:br>
              <a:r>
                <a:rPr lang="en-GB" sz="800"/>
                <a:t>based</a:t>
              </a:r>
            </a:p>
          </p:txBody>
        </p:sp>
        <p:sp>
          <p:nvSpPr>
            <p:cNvPr id="551969" name="AutoShape 61"/>
            <p:cNvSpPr>
              <a:spLocks noChangeArrowheads="1"/>
            </p:cNvSpPr>
            <p:nvPr/>
          </p:nvSpPr>
          <p:spPr bwMode="auto">
            <a:xfrm>
              <a:off x="2796" y="1965"/>
              <a:ext cx="158" cy="99"/>
            </a:xfrm>
            <a:prstGeom prst="leftArrow">
              <a:avLst>
                <a:gd name="adj1" fmla="val 24083"/>
                <a:gd name="adj2" fmla="val 40268"/>
              </a:avLst>
            </a:prstGeom>
            <a:solidFill>
              <a:schemeClr val="bg2"/>
            </a:solidFill>
            <a:ln w="190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0" name="Line 62"/>
            <p:cNvSpPr>
              <a:spLocks noChangeShapeType="1"/>
            </p:cNvSpPr>
            <p:nvPr/>
          </p:nvSpPr>
          <p:spPr bwMode="auto">
            <a:xfrm rot="-5400000" flipH="1" flipV="1">
              <a:off x="2797" y="2239"/>
              <a:ext cx="147" cy="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lg" len="lg"/>
              <a:tailEnd type="stealth" w="lg" len="lg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1" name="Line 63"/>
            <p:cNvSpPr>
              <a:spLocks noChangeShapeType="1"/>
            </p:cNvSpPr>
            <p:nvPr/>
          </p:nvSpPr>
          <p:spPr bwMode="auto">
            <a:xfrm rot="-5400000" flipH="1" flipV="1">
              <a:off x="2963" y="2239"/>
              <a:ext cx="147" cy="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lg" len="lg"/>
              <a:tailEnd type="stealth" w="lg" len="lg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2" name="Line 64"/>
            <p:cNvSpPr>
              <a:spLocks noChangeShapeType="1"/>
            </p:cNvSpPr>
            <p:nvPr/>
          </p:nvSpPr>
          <p:spPr bwMode="auto">
            <a:xfrm rot="-5400000" flipH="1" flipV="1">
              <a:off x="3129" y="2239"/>
              <a:ext cx="147" cy="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lg" len="lg"/>
              <a:tailEnd type="stealth" w="lg" len="lg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3" name="Line 65"/>
            <p:cNvSpPr>
              <a:spLocks noChangeShapeType="1"/>
            </p:cNvSpPr>
            <p:nvPr/>
          </p:nvSpPr>
          <p:spPr bwMode="auto">
            <a:xfrm rot="-5400000" flipH="1" flipV="1">
              <a:off x="3295" y="2239"/>
              <a:ext cx="147" cy="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lg" len="lg"/>
              <a:tailEnd type="stealth" w="lg" len="lg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4" name="Line 66"/>
            <p:cNvSpPr>
              <a:spLocks noChangeShapeType="1"/>
            </p:cNvSpPr>
            <p:nvPr/>
          </p:nvSpPr>
          <p:spPr bwMode="auto">
            <a:xfrm rot="-5400000" flipH="1" flipV="1">
              <a:off x="3461" y="2239"/>
              <a:ext cx="147" cy="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lg" len="lg"/>
              <a:tailEnd type="stealth" w="lg" len="lg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1975" name="AutoShape 67"/>
            <p:cNvSpPr>
              <a:spLocks noChangeArrowheads="1"/>
            </p:cNvSpPr>
            <p:nvPr/>
          </p:nvSpPr>
          <p:spPr bwMode="auto">
            <a:xfrm flipH="1">
              <a:off x="3475" y="1965"/>
              <a:ext cx="158" cy="99"/>
            </a:xfrm>
            <a:prstGeom prst="leftArrow">
              <a:avLst>
                <a:gd name="adj1" fmla="val 24083"/>
                <a:gd name="adj2" fmla="val 40268"/>
              </a:avLst>
            </a:prstGeom>
            <a:solidFill>
              <a:schemeClr val="bg2"/>
            </a:solidFill>
            <a:ln w="1905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551976" name="Picture 68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488" y="2414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pic>
          <p:nvPicPr>
            <p:cNvPr id="551977" name="Picture 69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116" y="2414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  <p:pic>
          <p:nvPicPr>
            <p:cNvPr id="551978" name="Picture 70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744" y="2414"/>
              <a:ext cx="249" cy="42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</p:pic>
      </p:grpSp>
      <p:pic>
        <p:nvPicPr>
          <p:cNvPr id="551961" name="Picture 7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98775" y="2659063"/>
            <a:ext cx="722313" cy="12192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551962" name="Line 72"/>
          <p:cNvSpPr>
            <a:spLocks noChangeShapeType="1"/>
          </p:cNvSpPr>
          <p:nvPr/>
        </p:nvSpPr>
        <p:spPr bwMode="auto">
          <a:xfrm>
            <a:off x="6076950" y="1811338"/>
            <a:ext cx="0" cy="2994025"/>
          </a:xfrm>
          <a:prstGeom prst="line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1963" name="Line 73"/>
          <p:cNvSpPr>
            <a:spLocks noChangeShapeType="1"/>
          </p:cNvSpPr>
          <p:nvPr/>
        </p:nvSpPr>
        <p:spPr bwMode="auto">
          <a:xfrm flipH="1">
            <a:off x="4008438" y="2330450"/>
            <a:ext cx="19050" cy="1976438"/>
          </a:xfrm>
          <a:prstGeom prst="line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31946" name="Oval 74"/>
          <p:cNvSpPr>
            <a:spLocks noChangeArrowheads="1"/>
          </p:cNvSpPr>
          <p:nvPr/>
        </p:nvSpPr>
        <p:spPr bwMode="auto">
          <a:xfrm>
            <a:off x="457200" y="2068513"/>
            <a:ext cx="3181350" cy="2228850"/>
          </a:xfrm>
          <a:prstGeom prst="ellipse">
            <a:avLst/>
          </a:prstGeom>
          <a:solidFill>
            <a:srgbClr val="96D2BE">
              <a:alpha val="79999"/>
            </a:srgbClr>
          </a:solidFill>
          <a:ln w="1905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2000"/>
              <a:t>Services Oriented</a:t>
            </a:r>
          </a:p>
          <a:p>
            <a:pPr algn="ctr"/>
            <a:r>
              <a:rPr lang="en-GB" sz="2000"/>
              <a:t>Infrastructure</a:t>
            </a:r>
          </a:p>
        </p:txBody>
      </p:sp>
      <p:sp>
        <p:nvSpPr>
          <p:cNvPr id="1231947" name="Oval 75"/>
          <p:cNvSpPr>
            <a:spLocks noChangeArrowheads="1"/>
          </p:cNvSpPr>
          <p:nvPr/>
        </p:nvSpPr>
        <p:spPr bwMode="auto">
          <a:xfrm>
            <a:off x="3143250" y="1592263"/>
            <a:ext cx="2971800" cy="3238500"/>
          </a:xfrm>
          <a:prstGeom prst="ellipse">
            <a:avLst/>
          </a:prstGeom>
          <a:solidFill>
            <a:srgbClr val="96D2BE">
              <a:alpha val="79999"/>
            </a:srgbClr>
          </a:solidFill>
          <a:ln w="1905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2000"/>
              <a:t>Services Oriented</a:t>
            </a:r>
          </a:p>
          <a:p>
            <a:pPr algn="ctr"/>
            <a:r>
              <a:rPr lang="en-GB" sz="2000"/>
              <a:t>Architecture</a:t>
            </a:r>
          </a:p>
        </p:txBody>
      </p:sp>
      <p:sp>
        <p:nvSpPr>
          <p:cNvPr id="1231948" name="Oval 76"/>
          <p:cNvSpPr>
            <a:spLocks noChangeArrowheads="1"/>
          </p:cNvSpPr>
          <p:nvPr/>
        </p:nvSpPr>
        <p:spPr bwMode="auto">
          <a:xfrm>
            <a:off x="5705475" y="1039813"/>
            <a:ext cx="3181350" cy="4381500"/>
          </a:xfrm>
          <a:prstGeom prst="ellipse">
            <a:avLst/>
          </a:prstGeom>
          <a:solidFill>
            <a:srgbClr val="96D2BE">
              <a:alpha val="79999"/>
            </a:srgbClr>
          </a:solidFill>
          <a:ln w="1905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2000"/>
              <a:t>Services Oriented</a:t>
            </a:r>
          </a:p>
          <a:p>
            <a:pPr algn="ctr"/>
            <a:r>
              <a:rPr lang="en-GB" sz="2000"/>
              <a:t>Enterprise</a:t>
            </a:r>
          </a:p>
        </p:txBody>
      </p:sp>
      <p:sp>
        <p:nvSpPr>
          <p:cNvPr id="77" name="Rectangle 4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07975" y="6219825"/>
            <a:ext cx="8528050" cy="381000"/>
          </a:xfrm>
          <a:prstGeom prst="rect">
            <a:avLst/>
          </a:prstGeom>
          <a:solidFill>
            <a:schemeClr val="hlink"/>
          </a:solidFill>
          <a:ln w="12700" algn="ctr">
            <a:solidFill>
              <a:schemeClr val="hlink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To drive incremental value, organizations are adopting Multi–Tenancy as part of Service Orient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318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2319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2319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1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2319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1874" grpId="0"/>
      <p:bldP spid="1231946" grpId="0" animBg="1"/>
      <p:bldP spid="1231947" grpId="0" animBg="1"/>
      <p:bldP spid="1231948" grpId="0" animBg="1"/>
      <p:bldP spid="7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Agenda</a:t>
            </a:r>
            <a:endParaRPr sz="2000">
              <a:gradFill flip="none" rotWithShape="1">
                <a:gsLst>
                  <a:gs pos="0">
                    <a:srgbClr val="55E6ED"/>
                  </a:gs>
                  <a:gs pos="80000">
                    <a:srgbClr val="009249"/>
                  </a:gs>
                </a:gsLst>
                <a:lin ang="12000000" scaled="0"/>
                <a:tileRect/>
              </a:gra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922838" y="311150"/>
            <a:ext cx="4078287" cy="6208713"/>
          </a:xfrm>
        </p:spPr>
        <p:txBody>
          <a:bodyPr rtlCol="0"/>
          <a:lstStyle/>
          <a:p>
            <a:pPr marL="257175" indent="-347663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rpose and Objectives</a:t>
            </a:r>
          </a:p>
          <a:p>
            <a:pPr marL="182563" indent="-27305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endParaRPr b="1" dirty="0" smtClean="0">
              <a:solidFill>
                <a:schemeClr val="bg1"/>
              </a:solidFill>
            </a:endParaRPr>
          </a:p>
          <a:p>
            <a:pPr marL="315913" indent="-40640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</a:rPr>
              <a:t> </a:t>
            </a:r>
            <a:endParaRPr dirty="0" smtClean="0">
              <a:solidFill>
                <a:schemeClr val="accent2"/>
              </a:solidFill>
            </a:endParaRPr>
          </a:p>
        </p:txBody>
      </p:sp>
      <p:pic>
        <p:nvPicPr>
          <p:cNvPr id="556035" name="Picture 3" descr="verticalbar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Title 1"/>
          <p:cNvSpPr>
            <a:spLocks noGrp="1"/>
          </p:cNvSpPr>
          <p:nvPr>
            <p:ph type="title"/>
          </p:nvPr>
        </p:nvSpPr>
        <p:spPr>
          <a:xfrm>
            <a:off x="655638" y="304800"/>
            <a:ext cx="8145462" cy="668977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Purpose and Objectives</a:t>
            </a:r>
            <a:endParaRPr smtClean="0">
              <a:solidFill>
                <a:srgbClr val="FF0000"/>
              </a:solidFill>
            </a:endParaRPr>
          </a:p>
        </p:txBody>
      </p:sp>
      <p:sp>
        <p:nvSpPr>
          <p:cNvPr id="557058" name="Content Placeholder 2"/>
          <p:cNvSpPr>
            <a:spLocks noGrp="1"/>
          </p:cNvSpPr>
          <p:nvPr>
            <p:ph idx="1"/>
          </p:nvPr>
        </p:nvSpPr>
        <p:spPr>
          <a:xfrm>
            <a:off x="309563" y="2593975"/>
            <a:ext cx="4032250" cy="2646363"/>
          </a:xfrm>
        </p:spPr>
        <p:txBody>
          <a:bodyPr/>
          <a:lstStyle/>
          <a:p>
            <a:pPr marL="182563" indent="-182563">
              <a:spcBef>
                <a:spcPts val="600"/>
              </a:spcBef>
              <a:spcAft>
                <a:spcPts val="600"/>
              </a:spcAft>
              <a:buClr>
                <a:srgbClr val="009BCC"/>
              </a:buClr>
            </a:pPr>
            <a:r>
              <a:rPr sz="1800"/>
              <a:t>Use the CSG IT Credit Card payment processing service as a case study to assess what worked and what didn’t</a:t>
            </a:r>
          </a:p>
          <a:p>
            <a:pPr marL="182563" indent="-182563">
              <a:spcBef>
                <a:spcPts val="600"/>
              </a:spcBef>
              <a:spcAft>
                <a:spcPts val="600"/>
              </a:spcAft>
              <a:buClr>
                <a:srgbClr val="009BCC"/>
              </a:buClr>
            </a:pPr>
            <a:r>
              <a:rPr sz="1800"/>
              <a:t>Define leading practices and apply lessons learned from the case study to enhance the Service Management playbook for building multi-tenant services</a:t>
            </a:r>
            <a:endParaRPr sz="1800" i="1"/>
          </a:p>
        </p:txBody>
      </p:sp>
      <p:sp>
        <p:nvSpPr>
          <p:cNvPr id="557059" name="TextBox 6"/>
          <p:cNvSpPr txBox="1">
            <a:spLocks noChangeArrowheads="1"/>
          </p:cNvSpPr>
          <p:nvPr/>
        </p:nvSpPr>
        <p:spPr bwMode="auto">
          <a:xfrm>
            <a:off x="4533900" y="2008188"/>
            <a:ext cx="45704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 u="sng">
                <a:solidFill>
                  <a:srgbClr val="0096D6"/>
                </a:solidFill>
              </a:rPr>
              <a:t>Project  Approach</a:t>
            </a:r>
          </a:p>
        </p:txBody>
      </p:sp>
      <p:sp>
        <p:nvSpPr>
          <p:cNvPr id="557060" name="TextBox 7"/>
          <p:cNvSpPr txBox="1">
            <a:spLocks noChangeArrowheads="1"/>
          </p:cNvSpPr>
          <p:nvPr/>
        </p:nvSpPr>
        <p:spPr bwMode="auto">
          <a:xfrm>
            <a:off x="0" y="955675"/>
            <a:ext cx="91440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i="1">
                <a:solidFill>
                  <a:schemeClr val="bg1"/>
                </a:solidFill>
              </a:rPr>
              <a:t>Develop lessons learned from the experience of building application-oriented multi-tenant services and apply those learning's to enhance the Service Management playbook to improve the service creation process going forward</a:t>
            </a:r>
          </a:p>
        </p:txBody>
      </p:sp>
      <p:sp>
        <p:nvSpPr>
          <p:cNvPr id="557061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3675" y="2008188"/>
            <a:ext cx="4302125" cy="4341812"/>
          </a:xfrm>
          <a:prstGeom prst="rect">
            <a:avLst/>
          </a:prstGeom>
          <a:noFill/>
          <a:ln w="9525" algn="ctr">
            <a:solidFill>
              <a:srgbClr val="009BC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olidFill>
                <a:srgbClr val="0096D6"/>
              </a:solidFill>
            </a:endParaRPr>
          </a:p>
        </p:txBody>
      </p:sp>
      <p:sp>
        <p:nvSpPr>
          <p:cNvPr id="557062" name="Rectangle 9"/>
          <p:cNvSpPr>
            <a:spLocks noChangeArrowheads="1"/>
          </p:cNvSpPr>
          <p:nvPr/>
        </p:nvSpPr>
        <p:spPr bwMode="auto">
          <a:xfrm>
            <a:off x="193675" y="2008188"/>
            <a:ext cx="4302125" cy="500062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009BC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Objectives</a:t>
            </a:r>
          </a:p>
        </p:txBody>
      </p:sp>
      <p:sp>
        <p:nvSpPr>
          <p:cNvPr id="557063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87888" y="1998663"/>
            <a:ext cx="4300537" cy="4364037"/>
          </a:xfrm>
          <a:prstGeom prst="rect">
            <a:avLst/>
          </a:prstGeom>
          <a:noFill/>
          <a:ln w="9525" algn="ctr">
            <a:solidFill>
              <a:srgbClr val="009BC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olidFill>
                <a:srgbClr val="0096D6"/>
              </a:solidFill>
            </a:endParaRPr>
          </a:p>
        </p:txBody>
      </p:sp>
      <p:sp>
        <p:nvSpPr>
          <p:cNvPr id="557064" name="Rectangle 11"/>
          <p:cNvSpPr>
            <a:spLocks noChangeArrowheads="1"/>
          </p:cNvSpPr>
          <p:nvPr/>
        </p:nvSpPr>
        <p:spPr bwMode="auto">
          <a:xfrm>
            <a:off x="4687888" y="2008188"/>
            <a:ext cx="4300537" cy="500062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009BCC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>
                <a:solidFill>
                  <a:srgbClr val="FFFFFF"/>
                </a:solidFill>
              </a:rPr>
              <a:t>Approach</a:t>
            </a:r>
          </a:p>
        </p:txBody>
      </p:sp>
      <p:sp>
        <p:nvSpPr>
          <p:cNvPr id="557065" name="Oval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27775" y="2557463"/>
            <a:ext cx="1096963" cy="1096962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External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Research</a:t>
            </a:r>
          </a:p>
        </p:txBody>
      </p:sp>
      <p:sp>
        <p:nvSpPr>
          <p:cNvPr id="557066" name="Oval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73800" y="3935413"/>
            <a:ext cx="1200150" cy="1098550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200" b="1">
                <a:solidFill>
                  <a:srgbClr val="FFFFFF"/>
                </a:solidFill>
              </a:rPr>
              <a:t>Lessons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Learned &amp;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Enhancing the </a:t>
            </a:r>
          </a:p>
          <a:p>
            <a:pPr algn="ctr"/>
            <a:r>
              <a:rPr lang="en-US" sz="1200" b="1">
                <a:solidFill>
                  <a:srgbClr val="FFFFFF"/>
                </a:solidFill>
              </a:rPr>
              <a:t>Playbook</a:t>
            </a:r>
          </a:p>
        </p:txBody>
      </p:sp>
      <p:sp>
        <p:nvSpPr>
          <p:cNvPr id="557067" name="Oval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340475" y="5265738"/>
            <a:ext cx="1096963" cy="1096962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Cisco Svc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Mgmt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Playbook</a:t>
            </a:r>
          </a:p>
        </p:txBody>
      </p:sp>
      <p:sp>
        <p:nvSpPr>
          <p:cNvPr id="557068" name="Oval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797800" y="3935413"/>
            <a:ext cx="1098550" cy="1098550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Capgemini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Points of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View</a:t>
            </a:r>
          </a:p>
        </p:txBody>
      </p:sp>
      <p:sp>
        <p:nvSpPr>
          <p:cNvPr id="557069" name="Oval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857750" y="3935413"/>
            <a:ext cx="1096963" cy="1098550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>
                <a:solidFill>
                  <a:srgbClr val="FFFFFF"/>
                </a:solidFill>
              </a:rPr>
              <a:t>Stakeholder</a:t>
            </a:r>
          </a:p>
          <a:p>
            <a:pPr algn="ctr"/>
            <a:r>
              <a:rPr lang="en-US" sz="1400" b="1">
                <a:solidFill>
                  <a:srgbClr val="FFFFFF"/>
                </a:solidFill>
              </a:rPr>
              <a:t>Interviews</a:t>
            </a:r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7516813" y="4313065"/>
            <a:ext cx="212725" cy="342900"/>
            <a:chOff x="3128321" y="1748561"/>
            <a:chExt cx="213507" cy="343376"/>
          </a:xfrm>
          <a:solidFill>
            <a:schemeClr val="bg1"/>
          </a:solidFill>
        </p:grpSpPr>
        <p:sp>
          <p:nvSpPr>
            <p:cNvPr id="19" name="Right Arrow 18"/>
            <p:cNvSpPr/>
            <p:nvPr/>
          </p:nvSpPr>
          <p:spPr>
            <a:xfrm flipH="1" flipV="1">
              <a:off x="3128321" y="1748561"/>
              <a:ext cx="213507" cy="343376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ight Arrow 4"/>
            <p:cNvSpPr/>
            <p:nvPr/>
          </p:nvSpPr>
          <p:spPr>
            <a:xfrm rot="10800000">
              <a:off x="3192054" y="1816919"/>
              <a:ext cx="149774" cy="2066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5334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20"/>
          <p:cNvGrpSpPr>
            <a:grpSpLocks/>
          </p:cNvGrpSpPr>
          <p:nvPr/>
        </p:nvGrpSpPr>
        <p:grpSpPr bwMode="auto">
          <a:xfrm>
            <a:off x="6013450" y="4313065"/>
            <a:ext cx="214313" cy="342900"/>
            <a:chOff x="1727631" y="1748561"/>
            <a:chExt cx="213507" cy="343376"/>
          </a:xfrm>
          <a:solidFill>
            <a:schemeClr val="bg1"/>
          </a:solidFill>
        </p:grpSpPr>
        <p:sp>
          <p:nvSpPr>
            <p:cNvPr id="22" name="Right Arrow 21"/>
            <p:cNvSpPr/>
            <p:nvPr/>
          </p:nvSpPr>
          <p:spPr>
            <a:xfrm rot="10800000" flipH="1" flipV="1">
              <a:off x="1727631" y="1748561"/>
              <a:ext cx="213507" cy="343376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ight Arrow 4"/>
            <p:cNvSpPr/>
            <p:nvPr/>
          </p:nvSpPr>
          <p:spPr>
            <a:xfrm rot="21600000">
              <a:off x="1727631" y="1816919"/>
              <a:ext cx="150246" cy="2066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5334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6705600" y="5052840"/>
            <a:ext cx="342900" cy="214313"/>
            <a:chOff x="2363042" y="2513840"/>
            <a:chExt cx="343376" cy="213507"/>
          </a:xfrm>
          <a:solidFill>
            <a:schemeClr val="bg1"/>
          </a:solidFill>
        </p:grpSpPr>
        <p:sp>
          <p:nvSpPr>
            <p:cNvPr id="25" name="Right Arrow 24"/>
            <p:cNvSpPr/>
            <p:nvPr/>
          </p:nvSpPr>
          <p:spPr>
            <a:xfrm rot="16200000" flipV="1">
              <a:off x="2427976" y="2448906"/>
              <a:ext cx="213507" cy="343376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ight Arrow 4"/>
            <p:cNvSpPr/>
            <p:nvPr/>
          </p:nvSpPr>
          <p:spPr>
            <a:xfrm rot="5400000">
              <a:off x="2459608" y="2548893"/>
              <a:ext cx="150246" cy="2066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5334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 26"/>
          <p:cNvGrpSpPr>
            <a:grpSpLocks/>
          </p:cNvGrpSpPr>
          <p:nvPr/>
        </p:nvGrpSpPr>
        <p:grpSpPr bwMode="auto">
          <a:xfrm>
            <a:off x="6705600" y="3692353"/>
            <a:ext cx="342900" cy="212725"/>
            <a:chOff x="2363042" y="1113150"/>
            <a:chExt cx="343376" cy="213507"/>
          </a:xfrm>
          <a:solidFill>
            <a:schemeClr val="bg1"/>
          </a:solidFill>
        </p:grpSpPr>
        <p:sp>
          <p:nvSpPr>
            <p:cNvPr id="28" name="Right Arrow 27"/>
            <p:cNvSpPr/>
            <p:nvPr/>
          </p:nvSpPr>
          <p:spPr>
            <a:xfrm rot="16200000" flipH="1" flipV="1">
              <a:off x="2427976" y="1048216"/>
              <a:ext cx="213507" cy="343376"/>
            </a:xfrm>
            <a:prstGeom prst="rightArrow">
              <a:avLst>
                <a:gd name="adj1" fmla="val 60000"/>
                <a:gd name="adj2" fmla="val 50000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ight Arrow 4"/>
            <p:cNvSpPr/>
            <p:nvPr/>
          </p:nvSpPr>
          <p:spPr>
            <a:xfrm rot="5400000">
              <a:off x="2459844" y="1084706"/>
              <a:ext cx="149774" cy="20666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/>
            <a:lstStyle/>
            <a:p>
              <a:pPr algn="ctr" defTabSz="533400" fontAlgn="auto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defRPr/>
              </a:pPr>
              <a:endParaRPr lang="en-US" sz="1400" b="1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Agenda</a:t>
            </a:r>
            <a:endParaRPr sz="2000">
              <a:gradFill flip="none" rotWithShape="1">
                <a:gsLst>
                  <a:gs pos="0">
                    <a:srgbClr val="55E6ED"/>
                  </a:gs>
                  <a:gs pos="80000">
                    <a:srgbClr val="009249"/>
                  </a:gs>
                </a:gsLst>
                <a:lin ang="12000000" scaled="0"/>
                <a:tileRect/>
              </a:gra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922838" y="311150"/>
            <a:ext cx="4078287" cy="6208713"/>
          </a:xfrm>
        </p:spPr>
        <p:txBody>
          <a:bodyPr rtlCol="0"/>
          <a:lstStyle/>
          <a:p>
            <a:pPr marL="257175" indent="-347663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accent2"/>
                </a:solidFill>
              </a:rPr>
              <a:t>Multi-Tenancy</a:t>
            </a:r>
          </a:p>
          <a:p>
            <a:pPr marL="90488" indent="-180975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endParaRPr b="1" dirty="0" smtClean="0">
              <a:solidFill>
                <a:schemeClr val="bg1"/>
              </a:solidFill>
            </a:endParaRPr>
          </a:p>
          <a:p>
            <a:pPr marL="182563" indent="-27305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buFont typeface="Wingdings" pitchFamily="2" charset="2"/>
              <a:buChar char="§"/>
              <a:defRPr/>
            </a:pPr>
            <a:endParaRPr b="1" dirty="0" smtClean="0">
              <a:solidFill>
                <a:schemeClr val="bg1"/>
              </a:solidFill>
            </a:endParaRPr>
          </a:p>
          <a:p>
            <a:pPr marL="315913" indent="-406400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SzTx/>
              <a:defRPr/>
            </a:pPr>
            <a:r>
              <a:rPr b="1" dirty="0" smtClean="0">
                <a:solidFill>
                  <a:schemeClr val="bg1"/>
                </a:solidFill>
              </a:rPr>
              <a:t> </a:t>
            </a:r>
            <a:endParaRPr dirty="0" smtClean="0">
              <a:solidFill>
                <a:schemeClr val="accent2"/>
              </a:solidFill>
            </a:endParaRPr>
          </a:p>
        </p:txBody>
      </p:sp>
      <p:pic>
        <p:nvPicPr>
          <p:cNvPr id="559107" name="Picture 3" descr="verticalbar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41825" y="777875"/>
            <a:ext cx="88900" cy="528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471050"/>
            <a:ext cx="8145462" cy="550223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z="2800" smtClean="0"/>
              <a:t>Why Multi-Tenant Services are Critical to IT’s Success</a:t>
            </a:r>
            <a:endParaRPr sz="2800"/>
          </a:p>
        </p:txBody>
      </p:sp>
      <p:sp>
        <p:nvSpPr>
          <p:cNvPr id="560130" name="Content Placeholder 2"/>
          <p:cNvSpPr>
            <a:spLocks noGrp="1"/>
          </p:cNvSpPr>
          <p:nvPr>
            <p:ph idx="1"/>
          </p:nvPr>
        </p:nvSpPr>
        <p:spPr>
          <a:xfrm>
            <a:off x="349250" y="1054100"/>
            <a:ext cx="8524875" cy="493713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sz="1800" i="1"/>
              <a:t>A Multi-Tenant (MT) IT service delivers common services (e.g. Billing, HR, Decision Support) to multiple customers, sharing the same application with a common underlying infrastructure</a:t>
            </a:r>
          </a:p>
        </p:txBody>
      </p:sp>
      <p:graphicFrame>
        <p:nvGraphicFramePr>
          <p:cNvPr id="4" name="Diagram 3"/>
          <p:cNvGraphicFramePr/>
          <p:nvPr/>
        </p:nvGraphicFramePr>
        <p:xfrm>
          <a:off x="501070" y="2406820"/>
          <a:ext cx="814186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Content Placeholder 2"/>
          <p:cNvSpPr txBox="1">
            <a:spLocks/>
          </p:cNvSpPr>
          <p:nvPr/>
        </p:nvSpPr>
        <p:spPr bwMode="gray">
          <a:xfrm>
            <a:off x="0" y="2116138"/>
            <a:ext cx="9144000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>
              <a:spcAft>
                <a:spcPct val="5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lang="en-US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ulti-Tenancy reflects greater reuse of servic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02" y="432215"/>
            <a:ext cx="8588861" cy="83820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smtClean="0"/>
              <a:t>When to use a Multi-Tenant Service</a:t>
            </a:r>
            <a:endParaRPr/>
          </a:p>
        </p:txBody>
      </p:sp>
      <p:sp>
        <p:nvSpPr>
          <p:cNvPr id="562178" name="Content Placeholder 2"/>
          <p:cNvSpPr>
            <a:spLocks noGrp="1"/>
          </p:cNvSpPr>
          <p:nvPr>
            <p:ph idx="1"/>
          </p:nvPr>
        </p:nvSpPr>
        <p:spPr>
          <a:xfrm>
            <a:off x="273050" y="1050925"/>
            <a:ext cx="8675688" cy="538163"/>
          </a:xfrm>
        </p:spPr>
        <p:txBody>
          <a:bodyPr/>
          <a:lstStyle/>
          <a:p>
            <a:pPr lvl="1"/>
            <a:endParaRPr/>
          </a:p>
          <a:p>
            <a:pPr lvl="1"/>
            <a:endParaRPr/>
          </a:p>
        </p:txBody>
      </p:sp>
      <p:graphicFrame>
        <p:nvGraphicFramePr>
          <p:cNvPr id="4" name="Diagram 3"/>
          <p:cNvGraphicFramePr/>
          <p:nvPr/>
        </p:nvGraphicFramePr>
        <p:xfrm>
          <a:off x="1499600" y="1971565"/>
          <a:ext cx="6096000" cy="3295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69938" y="1135063"/>
            <a:ext cx="7950200" cy="538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>
              <a:lnSpc>
                <a:spcPct val="95000"/>
              </a:lnSpc>
              <a:spcBef>
                <a:spcPts val="1438"/>
              </a:spcBef>
              <a:buClr>
                <a:srgbClr val="96CA4B"/>
              </a:buClr>
              <a:buSzPct val="90000"/>
              <a:buFont typeface="Arial" charset="0"/>
              <a:buNone/>
            </a:pPr>
            <a:r>
              <a:rPr lang="en-US" i="1">
                <a:solidFill>
                  <a:schemeClr val="bg1"/>
                </a:solidFill>
              </a:rPr>
              <a:t>In deciding whether a service can support multi-tenancy, a set of key attributes should be considered during the Strategize stage of the Service Management Lifecycl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838200" y="5694363"/>
            <a:ext cx="7543800" cy="61436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8288" bIns="18288" anchor="ctr">
            <a:normAutofit/>
          </a:bodyPr>
          <a:lstStyle/>
          <a:p>
            <a:pPr algn="ctr">
              <a:defRPr/>
            </a:pPr>
            <a:r>
              <a:rPr lang="en-US" sz="1600" i="1" dirty="0">
                <a:solidFill>
                  <a:srgbClr val="08080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major driver to invest in multi-tenancy is to replicate certain capabilities cheaply as organizations enter into new business models or optimize current oper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pWBinOTAka4wc3280On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c8VgUz3NUWGmxSDA_Q.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2N.4MtUVEiprfLXOiwS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_oJaiUGAU2y0s5iX6tU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6777215"/>
  <p:tag name="FILLFORESCHEMECOLOR" val="1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6777215"/>
  <p:tag name="FILLFORESCHEMECOLOR" val="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BUBBLE" val="tru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1.xml><?xml version="1.0" encoding="utf-8"?>
<a:theme xmlns:a="http://schemas.openxmlformats.org/drawingml/2006/main" name="3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4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5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6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5.xml><?xml version="1.0" encoding="utf-8"?>
<a:theme xmlns:a="http://schemas.openxmlformats.org/drawingml/2006/main" name="7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6.xml><?xml version="1.0" encoding="utf-8"?>
<a:theme xmlns:a="http://schemas.openxmlformats.org/drawingml/2006/main" name="8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7.xml><?xml version="1.0" encoding="utf-8"?>
<a:theme xmlns:a="http://schemas.openxmlformats.org/drawingml/2006/main" name="9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8.xml><?xml version="1.0" encoding="utf-8"?>
<a:theme xmlns:a="http://schemas.openxmlformats.org/drawingml/2006/main" name="10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9.xml><?xml version="1.0" encoding="utf-8"?>
<a:theme xmlns:a="http://schemas.openxmlformats.org/drawingml/2006/main" name="11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4_FY11_SLO_BLACK_4x3_040110">
  <a:themeElements>
    <a:clrScheme name="CISCO FY11 BLACK PALETTE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47B0D5"/>
      </a:accent1>
      <a:accent2>
        <a:srgbClr val="68B442"/>
      </a:accent2>
      <a:accent3>
        <a:srgbClr val="B21A1A"/>
      </a:accent3>
      <a:accent4>
        <a:srgbClr val="C9A303"/>
      </a:accent4>
      <a:accent5>
        <a:srgbClr val="99D07E"/>
      </a:accent5>
      <a:accent6>
        <a:srgbClr val="8E8E95"/>
      </a:accent6>
      <a:hlink>
        <a:srgbClr val="47B0D5"/>
      </a:hlink>
      <a:folHlink>
        <a:srgbClr val="0183B7"/>
      </a:folHlink>
    </a:clrScheme>
    <a:fontScheme name="Cisco SL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2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1.xml><?xml version="1.0" encoding="utf-8"?>
<a:theme xmlns:a="http://schemas.openxmlformats.org/drawingml/2006/main" name="3_Cisco White template">
  <a:themeElements>
    <a:clrScheme name="Cisco White template 1">
      <a:dk1>
        <a:srgbClr val="000000"/>
      </a:dk1>
      <a:lt1>
        <a:srgbClr val="FFFFFF"/>
      </a:lt1>
      <a:dk2>
        <a:srgbClr val="0183B7"/>
      </a:dk2>
      <a:lt2>
        <a:srgbClr val="000000"/>
      </a:lt2>
      <a:accent1>
        <a:srgbClr val="0183B7"/>
      </a:accent1>
      <a:accent2>
        <a:srgbClr val="B21A1A"/>
      </a:accent2>
      <a:accent3>
        <a:srgbClr val="FFFFFF"/>
      </a:accent3>
      <a:accent4>
        <a:srgbClr val="000000"/>
      </a:accent4>
      <a:accent5>
        <a:srgbClr val="AAC1D8"/>
      </a:accent5>
      <a:accent6>
        <a:srgbClr val="A11616"/>
      </a:accent6>
      <a:hlink>
        <a:srgbClr val="83A2CF"/>
      </a:hlink>
      <a:folHlink>
        <a:srgbClr val="EFB525"/>
      </a:folHlink>
    </a:clrScheme>
    <a:fontScheme name="Cisco Whi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isco White template 1">
        <a:dk1>
          <a:srgbClr val="000000"/>
        </a:dk1>
        <a:lt1>
          <a:srgbClr val="FFFFFF"/>
        </a:lt1>
        <a:dk2>
          <a:srgbClr val="0183B7"/>
        </a:dk2>
        <a:lt2>
          <a:srgbClr val="000000"/>
        </a:lt2>
        <a:accent1>
          <a:srgbClr val="0183B7"/>
        </a:accent1>
        <a:accent2>
          <a:srgbClr val="B21A1A"/>
        </a:accent2>
        <a:accent3>
          <a:srgbClr val="FFFFFF"/>
        </a:accent3>
        <a:accent4>
          <a:srgbClr val="000000"/>
        </a:accent4>
        <a:accent5>
          <a:srgbClr val="AAC1D8"/>
        </a:accent5>
        <a:accent6>
          <a:srgbClr val="A11616"/>
        </a:accent6>
        <a:hlink>
          <a:srgbClr val="83A2CF"/>
        </a:hlink>
        <a:folHlink>
          <a:srgbClr val="EFB5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isc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isco White template">
  <a:themeElements>
    <a:clrScheme name="Cisco White template 1">
      <a:dk1>
        <a:srgbClr val="000000"/>
      </a:dk1>
      <a:lt1>
        <a:srgbClr val="FFFFFF"/>
      </a:lt1>
      <a:dk2>
        <a:srgbClr val="0183B7"/>
      </a:dk2>
      <a:lt2>
        <a:srgbClr val="000000"/>
      </a:lt2>
      <a:accent1>
        <a:srgbClr val="0183B7"/>
      </a:accent1>
      <a:accent2>
        <a:srgbClr val="B21A1A"/>
      </a:accent2>
      <a:accent3>
        <a:srgbClr val="FFFFFF"/>
      </a:accent3>
      <a:accent4>
        <a:srgbClr val="000000"/>
      </a:accent4>
      <a:accent5>
        <a:srgbClr val="AAC1D8"/>
      </a:accent5>
      <a:accent6>
        <a:srgbClr val="A11616"/>
      </a:accent6>
      <a:hlink>
        <a:srgbClr val="83A2CF"/>
      </a:hlink>
      <a:folHlink>
        <a:srgbClr val="EFB525"/>
      </a:folHlink>
    </a:clrScheme>
    <a:fontScheme name="Cisco Whi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isco White template 1">
        <a:dk1>
          <a:srgbClr val="000000"/>
        </a:dk1>
        <a:lt1>
          <a:srgbClr val="FFFFFF"/>
        </a:lt1>
        <a:dk2>
          <a:srgbClr val="0183B7"/>
        </a:dk2>
        <a:lt2>
          <a:srgbClr val="000000"/>
        </a:lt2>
        <a:accent1>
          <a:srgbClr val="0183B7"/>
        </a:accent1>
        <a:accent2>
          <a:srgbClr val="B21A1A"/>
        </a:accent2>
        <a:accent3>
          <a:srgbClr val="FFFFFF"/>
        </a:accent3>
        <a:accent4>
          <a:srgbClr val="000000"/>
        </a:accent4>
        <a:accent5>
          <a:srgbClr val="AAC1D8"/>
        </a:accent5>
        <a:accent6>
          <a:srgbClr val="A11616"/>
        </a:accent6>
        <a:hlink>
          <a:srgbClr val="83A2CF"/>
        </a:hlink>
        <a:folHlink>
          <a:srgbClr val="EFB5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isco White template">
  <a:themeElements>
    <a:clrScheme name="Cisco White template 1">
      <a:dk1>
        <a:srgbClr val="000000"/>
      </a:dk1>
      <a:lt1>
        <a:srgbClr val="FFFFFF"/>
      </a:lt1>
      <a:dk2>
        <a:srgbClr val="0183B7"/>
      </a:dk2>
      <a:lt2>
        <a:srgbClr val="000000"/>
      </a:lt2>
      <a:accent1>
        <a:srgbClr val="0183B7"/>
      </a:accent1>
      <a:accent2>
        <a:srgbClr val="B21A1A"/>
      </a:accent2>
      <a:accent3>
        <a:srgbClr val="FFFFFF"/>
      </a:accent3>
      <a:accent4>
        <a:srgbClr val="000000"/>
      </a:accent4>
      <a:accent5>
        <a:srgbClr val="AAC1D8"/>
      </a:accent5>
      <a:accent6>
        <a:srgbClr val="A11616"/>
      </a:accent6>
      <a:hlink>
        <a:srgbClr val="83A2CF"/>
      </a:hlink>
      <a:folHlink>
        <a:srgbClr val="EFB525"/>
      </a:folHlink>
    </a:clrScheme>
    <a:fontScheme name="Cisco Whi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isco White template 1">
        <a:dk1>
          <a:srgbClr val="000000"/>
        </a:dk1>
        <a:lt1>
          <a:srgbClr val="FFFFFF"/>
        </a:lt1>
        <a:dk2>
          <a:srgbClr val="0183B7"/>
        </a:dk2>
        <a:lt2>
          <a:srgbClr val="000000"/>
        </a:lt2>
        <a:accent1>
          <a:srgbClr val="0183B7"/>
        </a:accent1>
        <a:accent2>
          <a:srgbClr val="B21A1A"/>
        </a:accent2>
        <a:accent3>
          <a:srgbClr val="FFFFFF"/>
        </a:accent3>
        <a:accent4>
          <a:srgbClr val="000000"/>
        </a:accent4>
        <a:accent5>
          <a:srgbClr val="AAC1D8"/>
        </a:accent5>
        <a:accent6>
          <a:srgbClr val="A11616"/>
        </a:accent6>
        <a:hlink>
          <a:srgbClr val="83A2CF"/>
        </a:hlink>
        <a:folHlink>
          <a:srgbClr val="EFB5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VerticalTitle_Cisco">
  <a:themeElements>
    <a:clrScheme name="2VerticalTitle_Cisco 1">
      <a:dk1>
        <a:srgbClr val="000000"/>
      </a:dk1>
      <a:lt1>
        <a:srgbClr val="FFFFFF"/>
      </a:lt1>
      <a:dk2>
        <a:srgbClr val="0183B7"/>
      </a:dk2>
      <a:lt2>
        <a:srgbClr val="000000"/>
      </a:lt2>
      <a:accent1>
        <a:srgbClr val="0183B7"/>
      </a:accent1>
      <a:accent2>
        <a:srgbClr val="B21A1A"/>
      </a:accent2>
      <a:accent3>
        <a:srgbClr val="FFFFFF"/>
      </a:accent3>
      <a:accent4>
        <a:srgbClr val="000000"/>
      </a:accent4>
      <a:accent5>
        <a:srgbClr val="AAC1D8"/>
      </a:accent5>
      <a:accent6>
        <a:srgbClr val="A11616"/>
      </a:accent6>
      <a:hlink>
        <a:srgbClr val="47B0D5"/>
      </a:hlink>
      <a:folHlink>
        <a:srgbClr val="C9A303"/>
      </a:folHlink>
    </a:clrScheme>
    <a:fontScheme name="2VerticalTitle_Cis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2124" tIns="41061" rIns="82124" bIns="41061" numCol="1" anchor="ctr" anchorCtr="0" compatLnSpc="1">
        <a:prstTxWarp prst="textNoShape">
          <a:avLst/>
        </a:prstTxWarp>
        <a:spAutoFit/>
      </a:bodyPr>
      <a:lstStyle>
        <a:defPPr marL="0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82124" tIns="41061" rIns="82124" bIns="41061" numCol="1" anchor="ctr" anchorCtr="0" compatLnSpc="1">
        <a:prstTxWarp prst="textNoShape">
          <a:avLst/>
        </a:prstTxWarp>
        <a:spAutoFit/>
      </a:bodyPr>
      <a:lstStyle>
        <a:defPPr marL="0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VerticalTitle_Cisco 1">
        <a:dk1>
          <a:srgbClr val="000000"/>
        </a:dk1>
        <a:lt1>
          <a:srgbClr val="FFFFFF"/>
        </a:lt1>
        <a:dk2>
          <a:srgbClr val="0183B7"/>
        </a:dk2>
        <a:lt2>
          <a:srgbClr val="000000"/>
        </a:lt2>
        <a:accent1>
          <a:srgbClr val="0183B7"/>
        </a:accent1>
        <a:accent2>
          <a:srgbClr val="B21A1A"/>
        </a:accent2>
        <a:accent3>
          <a:srgbClr val="FFFFFF"/>
        </a:accent3>
        <a:accent4>
          <a:srgbClr val="000000"/>
        </a:accent4>
        <a:accent5>
          <a:srgbClr val="AAC1D8"/>
        </a:accent5>
        <a:accent6>
          <a:srgbClr val="A11616"/>
        </a:accent6>
        <a:hlink>
          <a:srgbClr val="47B0D5"/>
        </a:hlink>
        <a:folHlink>
          <a:srgbClr val="C9A30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FY11_SLO_BLACK_4x3_040110">
  <a:themeElements>
    <a:clrScheme name="CISCO FY11 BLACK PALETTE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47B0D5"/>
      </a:accent1>
      <a:accent2>
        <a:srgbClr val="68B442"/>
      </a:accent2>
      <a:accent3>
        <a:srgbClr val="B21A1A"/>
      </a:accent3>
      <a:accent4>
        <a:srgbClr val="C9A303"/>
      </a:accent4>
      <a:accent5>
        <a:srgbClr val="99D07E"/>
      </a:accent5>
      <a:accent6>
        <a:srgbClr val="8E8E95"/>
      </a:accent6>
      <a:hlink>
        <a:srgbClr val="47B0D5"/>
      </a:hlink>
      <a:folHlink>
        <a:srgbClr val="0183B7"/>
      </a:folHlink>
    </a:clrScheme>
    <a:fontScheme name="Cisco SL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Cisco White template">
  <a:themeElements>
    <a:clrScheme name="Cisco White template 1">
      <a:dk1>
        <a:srgbClr val="000000"/>
      </a:dk1>
      <a:lt1>
        <a:srgbClr val="FFFFFF"/>
      </a:lt1>
      <a:dk2>
        <a:srgbClr val="0183B7"/>
      </a:dk2>
      <a:lt2>
        <a:srgbClr val="000000"/>
      </a:lt2>
      <a:accent1>
        <a:srgbClr val="0183B7"/>
      </a:accent1>
      <a:accent2>
        <a:srgbClr val="B21A1A"/>
      </a:accent2>
      <a:accent3>
        <a:srgbClr val="FFFFFF"/>
      </a:accent3>
      <a:accent4>
        <a:srgbClr val="000000"/>
      </a:accent4>
      <a:accent5>
        <a:srgbClr val="AAC1D8"/>
      </a:accent5>
      <a:accent6>
        <a:srgbClr val="A11616"/>
      </a:accent6>
      <a:hlink>
        <a:srgbClr val="83A2CF"/>
      </a:hlink>
      <a:folHlink>
        <a:srgbClr val="EFB525"/>
      </a:folHlink>
    </a:clrScheme>
    <a:fontScheme name="Cisco Whi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4"/>
        </a:solidFill>
        <a:ln w="3175" cap="flat" cmpd="sng" algn="ctr">
          <a:solidFill>
            <a:srgbClr val="5F5F65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82124" tIns="41061" rIns="82124" bIns="41061" numCol="1" anchor="ctr" anchorCtr="0" compatLnSpc="1">
        <a:prstTxWarp prst="textNoShape">
          <a:avLst/>
        </a:prstTxWarp>
      </a:bodyPr>
      <a:lstStyle>
        <a:defPPr marL="115888" marR="0" indent="0" algn="ctr" defTabSz="814388" rtl="0" eaLnBrk="0" fontAlgn="base" latinLnBrk="0" hangingPunct="0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isco White template 1">
        <a:dk1>
          <a:srgbClr val="000000"/>
        </a:dk1>
        <a:lt1>
          <a:srgbClr val="FFFFFF"/>
        </a:lt1>
        <a:dk2>
          <a:srgbClr val="0183B7"/>
        </a:dk2>
        <a:lt2>
          <a:srgbClr val="000000"/>
        </a:lt2>
        <a:accent1>
          <a:srgbClr val="0183B7"/>
        </a:accent1>
        <a:accent2>
          <a:srgbClr val="B21A1A"/>
        </a:accent2>
        <a:accent3>
          <a:srgbClr val="FFFFFF"/>
        </a:accent3>
        <a:accent4>
          <a:srgbClr val="000000"/>
        </a:accent4>
        <a:accent5>
          <a:srgbClr val="AAC1D8"/>
        </a:accent5>
        <a:accent6>
          <a:srgbClr val="A11616"/>
        </a:accent6>
        <a:hlink>
          <a:srgbClr val="83A2CF"/>
        </a:hlink>
        <a:folHlink>
          <a:srgbClr val="EFB52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9.xml><?xml version="1.0" encoding="utf-8"?>
<a:theme xmlns:a="http://schemas.openxmlformats.org/drawingml/2006/main" name="1_Cisco Arial 4x3 template_dark">
  <a:themeElements>
    <a:clrScheme name="Cisco 2010 Color Palette">
      <a:dk1>
        <a:srgbClr val="0096D6"/>
      </a:dk1>
      <a:lt1>
        <a:srgbClr val="FFFFFF"/>
      </a:lt1>
      <a:dk2>
        <a:srgbClr val="6DB344"/>
      </a:dk2>
      <a:lt2>
        <a:srgbClr val="FFFFFF"/>
      </a:lt2>
      <a:accent1>
        <a:srgbClr val="0096D6"/>
      </a:accent1>
      <a:accent2>
        <a:srgbClr val="6DB344"/>
      </a:accent2>
      <a:accent3>
        <a:srgbClr val="ABDFF0"/>
      </a:accent3>
      <a:accent4>
        <a:srgbClr val="008041"/>
      </a:accent4>
      <a:accent5>
        <a:srgbClr val="B7D333"/>
      </a:accent5>
      <a:accent6>
        <a:srgbClr val="652D89"/>
      </a:accent6>
      <a:hlink>
        <a:srgbClr val="3CBADC"/>
      </a:hlink>
      <a:folHlink>
        <a:srgbClr val="A6A8AB"/>
      </a:folHlink>
    </a:clrScheme>
    <a:fontScheme name="Cisco 2010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6D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784</TotalTime>
  <Words>1828</Words>
  <Application>Microsoft Office PowerPoint</Application>
  <PresentationFormat>On-screen Show (4:3)</PresentationFormat>
  <Paragraphs>326</Paragraphs>
  <Slides>23</Slides>
  <Notes>15</Notes>
  <HiddenSlides>0</HiddenSlides>
  <MMClips>0</MMClips>
  <ScaleCrop>false</ScaleCrop>
  <HeadingPairs>
    <vt:vector size="4" baseType="variant">
      <vt:variant>
        <vt:lpstr>Theme</vt:lpstr>
      </vt:variant>
      <vt:variant>
        <vt:i4>2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Custom Design</vt:lpstr>
      <vt:lpstr>4_FY11_SLO_BLACK_4x3_040110</vt:lpstr>
      <vt:lpstr>1_Cisco White template</vt:lpstr>
      <vt:lpstr>Cisco White template</vt:lpstr>
      <vt:lpstr>2VerticalTitle_Cisco</vt:lpstr>
      <vt:lpstr>5_FY11_SLO_BLACK_4x3_040110</vt:lpstr>
      <vt:lpstr>2_Cisco White template</vt:lpstr>
      <vt:lpstr>Cisco Arial 4x3 template_dark</vt:lpstr>
      <vt:lpstr>1_Cisco Arial 4x3 template_dark</vt:lpstr>
      <vt:lpstr>2_Cisco Arial 4x3 template_dark</vt:lpstr>
      <vt:lpstr>3_Cisco Arial 4x3 template_dark</vt:lpstr>
      <vt:lpstr>4_Cisco Arial 4x3 template_dark</vt:lpstr>
      <vt:lpstr>5_Cisco Arial 4x3 template_dark</vt:lpstr>
      <vt:lpstr>6_Cisco Arial 4x3 template_dark</vt:lpstr>
      <vt:lpstr>7_Cisco Arial 4x3 template_dark</vt:lpstr>
      <vt:lpstr>8_Cisco Arial 4x3 template_dark</vt:lpstr>
      <vt:lpstr>9_Cisco Arial 4x3 template_dark</vt:lpstr>
      <vt:lpstr>10_Cisco Arial 4x3 template_dark</vt:lpstr>
      <vt:lpstr>11_Cisco Arial 4x3 template_dark</vt:lpstr>
      <vt:lpstr>12_Cisco Arial 4x3 template_dark</vt:lpstr>
      <vt:lpstr>3_Cisco White template</vt:lpstr>
      <vt:lpstr>Multi-Tenant Services – Lessons Learned</vt:lpstr>
      <vt:lpstr>Agenda</vt:lpstr>
      <vt:lpstr>Introductions</vt:lpstr>
      <vt:lpstr>Slide 4</vt:lpstr>
      <vt:lpstr>Agenda</vt:lpstr>
      <vt:lpstr>Purpose and Objectives</vt:lpstr>
      <vt:lpstr>Agenda</vt:lpstr>
      <vt:lpstr>Why Multi-Tenant Services are Critical to IT’s Success</vt:lpstr>
      <vt:lpstr>When to use a Multi-Tenant Service</vt:lpstr>
      <vt:lpstr>Agenda</vt:lpstr>
      <vt:lpstr>Multi-Tenancy Requires Additional Considerations</vt:lpstr>
      <vt:lpstr>Solution MT Considerations</vt:lpstr>
      <vt:lpstr>Multi-Tenancy’s requirement for Demand/Supply Capacity Forecasting</vt:lpstr>
      <vt:lpstr>Financial MT Considerations</vt:lpstr>
      <vt:lpstr>Multi-Tenancy’s impact on funding / chargeback models</vt:lpstr>
      <vt:lpstr>Technology MT Considerations</vt:lpstr>
      <vt:lpstr>Governance MT Considerations</vt:lpstr>
      <vt:lpstr>People MT Considerations</vt:lpstr>
      <vt:lpstr>Process MT Considerations</vt:lpstr>
      <vt:lpstr>Agenda</vt:lpstr>
      <vt:lpstr>How Should Multi-Tenant Services be Rolled-out</vt:lpstr>
      <vt:lpstr>Questions?</vt:lpstr>
      <vt:lpstr>Slide 23</vt:lpstr>
    </vt:vector>
  </TitlesOfParts>
  <Company>Duarte Desig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fore You Use This Template,  Please Read</dc:title>
  <dc:creator>Robin</dc:creator>
  <dc:description>www.duarte.com</dc:description>
  <cp:lastModifiedBy>Information Technology</cp:lastModifiedBy>
  <cp:revision>704</cp:revision>
  <dcterms:created xsi:type="dcterms:W3CDTF">2010-10-05T15:04:28Z</dcterms:created>
  <dcterms:modified xsi:type="dcterms:W3CDTF">2011-01-11T22:59:46Z</dcterms:modified>
</cp:coreProperties>
</file>